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tiff" ContentType="image/tiff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5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4" r:id="rId4"/>
    <p:sldMasterId id="2147484106" r:id="rId5"/>
    <p:sldMasterId id="2147484124" r:id="rId6"/>
    <p:sldMasterId id="2147484197" r:id="rId7"/>
    <p:sldMasterId id="2147484230" r:id="rId8"/>
    <p:sldMasterId id="2147484370" r:id="rId9"/>
  </p:sldMasterIdLst>
  <p:notesMasterIdLst>
    <p:notesMasterId r:id="rId15"/>
  </p:notesMasterIdLst>
  <p:handoutMasterIdLst>
    <p:handoutMasterId r:id="rId16"/>
  </p:handoutMasterIdLst>
  <p:sldIdLst>
    <p:sldId id="1255" r:id="rId10"/>
    <p:sldId id="1253" r:id="rId11"/>
    <p:sldId id="1239" r:id="rId12"/>
    <p:sldId id="1248" r:id="rId13"/>
    <p:sldId id="1254" r:id="rId14"/>
  </p:sldIdLst>
  <p:sldSz cx="9144000" cy="6858000" type="screen4x3"/>
  <p:notesSz cx="6797675" cy="9926638"/>
  <p:custDataLst>
    <p:tags r:id="rId1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>
          <p15:clr>
            <a:srgbClr val="A4A3A4"/>
          </p15:clr>
        </p15:guide>
        <p15:guide id="2" orient="horz" pos="935">
          <p15:clr>
            <a:srgbClr val="A4A3A4"/>
          </p15:clr>
        </p15:guide>
        <p15:guide id="3" orient="horz" pos="1071">
          <p15:clr>
            <a:srgbClr val="A4A3A4"/>
          </p15:clr>
        </p15:guide>
        <p15:guide id="4" pos="2653" userDrawn="1">
          <p15:clr>
            <a:srgbClr val="A4A3A4"/>
          </p15:clr>
        </p15:guide>
        <p15:guide id="5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2F1"/>
    <a:srgbClr val="FFE028"/>
    <a:srgbClr val="006600"/>
    <a:srgbClr val="BB0000"/>
    <a:srgbClr val="000000"/>
    <a:srgbClr val="DDD7D8"/>
    <a:srgbClr val="2D327D"/>
    <a:srgbClr val="EB0000"/>
    <a:srgbClr val="D70000"/>
    <a:srgbClr val="E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20BC1EB-9EC1-4461-A79D-5547F4957FD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20BC1EB-9EC1-4461-A79D-5547F4957FDC}" styleName="SBB - Table styl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32" autoAdjust="0"/>
    <p:restoredTop sz="94637" autoAdjust="0"/>
  </p:normalViewPr>
  <p:slideViewPr>
    <p:cSldViewPr showGuides="1">
      <p:cViewPr varScale="1">
        <p:scale>
          <a:sx n="120" d="100"/>
          <a:sy n="120" d="100"/>
        </p:scale>
        <p:origin x="1194" y="96"/>
      </p:cViewPr>
      <p:guideLst>
        <p:guide orient="horz" pos="436"/>
        <p:guide orient="horz" pos="935"/>
        <p:guide orient="horz" pos="1071"/>
        <p:guide pos="2653"/>
        <p:guide pos="5556"/>
      </p:guideLst>
    </p:cSldViewPr>
  </p:slideViewPr>
  <p:outlineViewPr>
    <p:cViewPr>
      <p:scale>
        <a:sx n="33" d="100"/>
        <a:sy n="33" d="100"/>
      </p:scale>
      <p:origin x="0" y="355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howGuides="1">
      <p:cViewPr varScale="1">
        <p:scale>
          <a:sx n="101" d="100"/>
          <a:sy n="101" d="100"/>
        </p:scale>
        <p:origin x="-2976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5325952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CH" sz="1000">
                <a:latin typeface="Arial" pitchFamily="34" charset="0"/>
                <a:cs typeface="Arial" pitchFamily="34" charset="0"/>
              </a:rPr>
              <a:t>SBB • Division • Abteilung oder Bereich • DD.MM.YY</a:t>
            </a:r>
            <a:endParaRPr lang="en-US" sz="100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25951" y="9428583"/>
            <a:ext cx="147015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92DED1-F8B4-4F1C-8138-4199465CB85B}" type="slidenum">
              <a:rPr lang="en-US" sz="1000" smtClean="0">
                <a:latin typeface="Arial" pitchFamily="34" charset="0"/>
                <a:cs typeface="Arial" pitchFamily="34" charset="0"/>
              </a:rPr>
              <a:t>‹Nr.›</a:t>
            </a:fld>
            <a:endParaRPr lang="en-US" sz="100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737116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246FB891-B5AD-4CB7-9221-FAE4F4F9EC53}" type="datetimeFigureOut">
              <a:rPr lang="en-US" smtClean="0"/>
              <a:pPr/>
              <a:t>1/1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5968323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111072" y="9428583"/>
            <a:ext cx="68503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fld id="{8ED26404-58E8-4486-905C-9BBBD7B83F8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540281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png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0.png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pn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png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ti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ti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6.bin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ti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7.bin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ti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8.bin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ti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9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t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t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3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t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t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7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tif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9.bin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t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0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t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t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tif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6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7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4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2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4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tif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Master" Target="../slideMasters/slideMaster6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56.bin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7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8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9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t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tif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f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tif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1514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84544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8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1" name="LogoSBB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7221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930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9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1" name="LogoSBB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01622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8" name="LogoCargo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9" name="LogoSBB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50" y="382074"/>
            <a:ext cx="2016663" cy="21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2278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7" name="LogoSBB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50" y="382074"/>
            <a:ext cx="2016663" cy="21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38655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50" y="382074"/>
            <a:ext cx="2016663" cy="21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35598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50" y="382074"/>
            <a:ext cx="2016663" cy="21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07807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r breit und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Doppelbild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56000"/>
            <a:ext cx="5796000" cy="4860000"/>
          </a:xfrm>
        </p:spPr>
        <p:txBody>
          <a:bodyPr anchor="ctr" anchorCtr="1"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128078421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Hider"/>
          <p:cNvSpPr/>
          <p:nvPr userDrawn="1"/>
        </p:nvSpPr>
        <p:spPr bwMode="white">
          <a:xfrm>
            <a:off x="3448" y="1340768"/>
            <a:ext cx="9144000" cy="55172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4653136"/>
            <a:ext cx="9144000" cy="2204864"/>
          </a:xfrm>
          <a:prstGeom prst="rect">
            <a:avLst/>
          </a:prstGeom>
          <a:solidFill>
            <a:srgbClr val="2D32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0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5650" y="6048752"/>
            <a:ext cx="8065266" cy="246221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/>
              <a:t>Formatvorlage des Untertitelmasters durch Klicken bearbeiten</a:t>
            </a:r>
            <a:endParaRPr lang="de-CH" noProof="0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828000"/>
            <a:ext cx="9144000" cy="3671887"/>
          </a:xfrm>
        </p:spPr>
        <p:txBody>
          <a:bodyPr anchor="ctr" anchorCtr="1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de-CH" dirty="0"/>
              <a:t>Klicken Sie hier, um ein Bild einzufügen.</a:t>
            </a:r>
          </a:p>
        </p:txBody>
      </p:sp>
    </p:spTree>
    <p:extLst>
      <p:ext uri="{BB962C8B-B14F-4D97-AF65-F5344CB8AC3E}">
        <p14:creationId xmlns:p14="http://schemas.microsoft.com/office/powerpoint/2010/main" val="192906240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Hider"/>
          <p:cNvSpPr/>
          <p:nvPr userDrawn="1"/>
        </p:nvSpPr>
        <p:spPr bwMode="white">
          <a:xfrm>
            <a:off x="3448" y="1340768"/>
            <a:ext cx="9144000" cy="55172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000" b="1" baseline="0">
                <a:solidFill>
                  <a:schemeClr val="tx1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2"/>
            <a:ext cx="8065266" cy="246221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</p:spTree>
    <p:extLst>
      <p:ext uri="{BB962C8B-B14F-4D97-AF65-F5344CB8AC3E}">
        <p14:creationId xmlns:p14="http://schemas.microsoft.com/office/powerpoint/2010/main" val="2424135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93283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3190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72144350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Hider"/>
          <p:cNvSpPr/>
          <p:nvPr userDrawn="1"/>
        </p:nvSpPr>
        <p:spPr bwMode="white">
          <a:xfrm>
            <a:off x="395536" y="1556792"/>
            <a:ext cx="8460464" cy="500402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0040" y="1844824"/>
            <a:ext cx="8060110" cy="4392464"/>
          </a:xfrm>
        </p:spPr>
        <p:txBody>
          <a:bodyPr anchor="t">
            <a:noAutofit/>
          </a:bodyPr>
          <a:lstStyle>
            <a:lvl1pPr algn="l">
              <a:lnSpc>
                <a:spcPts val="6800"/>
              </a:lnSpc>
              <a:defRPr sz="6400" b="1" cap="none" baseline="0">
                <a:solidFill>
                  <a:schemeClr val="tx1"/>
                </a:solidFill>
              </a:defRPr>
            </a:lvl1pPr>
          </a:lstStyle>
          <a:p>
            <a:r>
              <a:rPr lang="de-CH" noProof="0" dirty="0"/>
              <a:t>Kapiteltitel neutral…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16404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Hider"/>
          <p:cNvSpPr/>
          <p:nvPr userDrawn="1"/>
        </p:nvSpPr>
        <p:spPr bwMode="white">
          <a:xfrm>
            <a:off x="395536" y="1556792"/>
            <a:ext cx="8460464" cy="500402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656000"/>
            <a:ext cx="9144000" cy="4860000"/>
          </a:xfrm>
          <a:prstGeom prst="rect">
            <a:avLst/>
          </a:prstGeom>
          <a:solidFill>
            <a:srgbClr val="2D32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0040" y="1844824"/>
            <a:ext cx="8060110" cy="4392464"/>
          </a:xfrm>
        </p:spPr>
        <p:txBody>
          <a:bodyPr anchor="t">
            <a:noAutofit/>
          </a:bodyPr>
          <a:lstStyle>
            <a:lvl1pPr algn="l">
              <a:lnSpc>
                <a:spcPts val="6800"/>
              </a:lnSpc>
              <a:defRPr sz="6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Kapiteltitel in blau…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2191169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R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Hider"/>
          <p:cNvSpPr/>
          <p:nvPr userDrawn="1"/>
        </p:nvSpPr>
        <p:spPr bwMode="white">
          <a:xfrm>
            <a:off x="395536" y="1556792"/>
            <a:ext cx="8460464" cy="500402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656000"/>
            <a:ext cx="9144000" cy="48600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0040" y="1844824"/>
            <a:ext cx="8060110" cy="4392464"/>
          </a:xfrm>
        </p:spPr>
        <p:txBody>
          <a:bodyPr anchor="t">
            <a:noAutofit/>
          </a:bodyPr>
          <a:lstStyle>
            <a:lvl1pPr algn="l">
              <a:lnSpc>
                <a:spcPts val="6800"/>
              </a:lnSpc>
              <a:defRPr sz="6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… oder Kapiteltitel in ro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1345217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schmal und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Doppelbild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348000" y="1656000"/>
            <a:ext cx="5796000" cy="4860000"/>
          </a:xfrm>
        </p:spPr>
        <p:txBody>
          <a:bodyPr anchor="ctr" anchorCtr="1"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56000"/>
            <a:ext cx="3240000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noProof="0" dirty="0"/>
              <a:t>Klicken Sie hier, um ein Bild einzufügen.</a:t>
            </a:r>
          </a:p>
        </p:txBody>
      </p:sp>
    </p:spTree>
    <p:extLst>
      <p:ext uri="{BB962C8B-B14F-4D97-AF65-F5344CB8AC3E}">
        <p14:creationId xmlns:p14="http://schemas.microsoft.com/office/powerpoint/2010/main" val="78092532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Hider"/>
          <p:cNvSpPr/>
          <p:nvPr userDrawn="1"/>
        </p:nvSpPr>
        <p:spPr bwMode="white">
          <a:xfrm>
            <a:off x="395536" y="1556792"/>
            <a:ext cx="8460464" cy="500402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6516000"/>
          </a:xfrm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82521799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Hider"/>
          <p:cNvSpPr/>
          <p:nvPr userDrawn="1"/>
        </p:nvSpPr>
        <p:spPr bwMode="white">
          <a:xfrm>
            <a:off x="395536" y="1556792"/>
            <a:ext cx="8460464" cy="500402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6858000"/>
          </a:xfrm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14669969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CH" noProof="0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6618257"/>
            <a:ext cx="3960440" cy="123111"/>
          </a:xfrm>
        </p:spPr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55276159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6618257"/>
            <a:ext cx="3960440" cy="123111"/>
          </a:xfrm>
        </p:spPr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3013156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r breit und sch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Doppelbild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56000"/>
            <a:ext cx="5796000" cy="4860000"/>
          </a:xfrm>
        </p:spPr>
        <p:txBody>
          <a:bodyPr anchor="ctr" anchorCtr="1"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6618257"/>
            <a:ext cx="3960440" cy="123111"/>
          </a:xfrm>
        </p:spPr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407036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35343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r schmal und bre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Doppelbild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3348000" y="1656000"/>
            <a:ext cx="5796000" cy="4860000"/>
          </a:xfrm>
        </p:spPr>
        <p:txBody>
          <a:bodyPr anchor="ctr" anchorCtr="1"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1656000"/>
            <a:ext cx="3240000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noProof="0" dirty="0"/>
              <a:t>Klicken Sie hier, um ein Bild einzufügen.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6618257"/>
            <a:ext cx="3960440" cy="123111"/>
          </a:xfrm>
        </p:spPr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395026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Hider"/>
          <p:cNvSpPr/>
          <p:nvPr userDrawn="1"/>
        </p:nvSpPr>
        <p:spPr bwMode="white">
          <a:xfrm>
            <a:off x="395536" y="1556792"/>
            <a:ext cx="8460464" cy="500402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9144000" cy="6516000"/>
          </a:xfrm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6618257"/>
            <a:ext cx="3960440" cy="123111"/>
          </a:xfrm>
        </p:spPr>
        <p:txBody>
          <a:bodyPr/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2887800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7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225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Inhalts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33737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4045317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Kapiteltext hat maximal 7 Zeilen.</a:t>
            </a:r>
          </a:p>
        </p:txBody>
      </p:sp>
    </p:spTree>
    <p:extLst>
      <p:ext uri="{BB962C8B-B14F-4D97-AF65-F5344CB8AC3E}">
        <p14:creationId xmlns:p14="http://schemas.microsoft.com/office/powerpoint/2010/main" val="238653612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ext hat max. 6 Zeilen.</a:t>
            </a:r>
          </a:p>
        </p:txBody>
      </p:sp>
    </p:spTree>
    <p:extLst>
      <p:ext uri="{BB962C8B-B14F-4D97-AF65-F5344CB8AC3E}">
        <p14:creationId xmlns:p14="http://schemas.microsoft.com/office/powerpoint/2010/main" val="22235084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ext hat max. 6 Zeilen.</a:t>
            </a:r>
          </a:p>
        </p:txBody>
      </p:sp>
      <p:pic>
        <p:nvPicPr>
          <p:cNvPr id="6" name="LogoInternational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8" name="LogoCargo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11" name="Bild 10" descr="Logo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550" y="368295"/>
            <a:ext cx="2044697" cy="241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04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st ein. Es sind auch mehrere Zeilen möglich.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10" name="Bild 9" descr="Logo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550" y="368295"/>
            <a:ext cx="2044697" cy="241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5744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10" name="Bild 9" descr="Logo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550" y="368295"/>
            <a:ext cx="2044697" cy="241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5024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1402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</a:t>
            </a:r>
          </a:p>
        </p:txBody>
      </p:sp>
    </p:spTree>
    <p:extLst>
      <p:ext uri="{BB962C8B-B14F-4D97-AF65-F5344CB8AC3E}">
        <p14:creationId xmlns:p14="http://schemas.microsoft.com/office/powerpoint/2010/main" val="49347444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10" name="Bild 9" descr="Logo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1550" y="368295"/>
            <a:ext cx="2044697" cy="241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9297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990600"/>
            <a:ext cx="8064500" cy="440214"/>
          </a:xfrm>
        </p:spPr>
        <p:txBody>
          <a:bodyPr/>
          <a:lstStyle/>
          <a:p>
            <a:r>
              <a:rPr lang="de-DE" b="0" dirty="0">
                <a:solidFill>
                  <a:schemeClr val="accent6"/>
                </a:solidFill>
              </a:rPr>
              <a:t>Projektbildfolie mit Legende – Titel nur einzeilig.</a:t>
            </a:r>
            <a:endParaRPr lang="de-CH" noProof="0" dirty="0"/>
          </a:p>
        </p:txBody>
      </p:sp>
      <p:sp>
        <p:nvSpPr>
          <p:cNvPr id="9" name="Content Placeholder 2"/>
          <p:cNvSpPr>
            <a:spLocks noGrp="1"/>
          </p:cNvSpPr>
          <p:nvPr>
            <p:ph idx="1" hasCustomPrompt="1"/>
          </p:nvPr>
        </p:nvSpPr>
        <p:spPr>
          <a:xfrm>
            <a:off x="755650" y="1692000"/>
            <a:ext cx="8064500" cy="4260850"/>
          </a:xfrm>
        </p:spPr>
        <p:txBody>
          <a:bodyPr anchor="ctr" anchorCtr="0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de-DE" noProof="0" dirty="0"/>
              <a:t>Klicken Sie hier, </a:t>
            </a:r>
            <a:br>
              <a:rPr lang="de-DE" noProof="0" dirty="0"/>
            </a:br>
            <a:r>
              <a:rPr lang="de-DE" noProof="0" dirty="0"/>
              <a:t>um ein Bild zu platzieren</a:t>
            </a:r>
            <a:endParaRPr lang="de-CH" noProof="0" dirty="0"/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r">
              <a:defRPr/>
            </a:pPr>
            <a:r>
              <a:rPr lang="de-CH" sz="600">
                <a:solidFill>
                  <a:srgbClr val="000000"/>
                </a:solidFill>
                <a:cs typeface="Arial" pitchFamily="34" charset="0"/>
              </a:rPr>
              <a:t>SBB • Division • Abteilung oder Bereich • DD.MM.YY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algn="r">
              <a:defRPr/>
            </a:pPr>
            <a:fld id="{5E115662-413A-4888-B9BC-797CDE14544F}" type="slidenum">
              <a:rPr lang="de-CH" sz="600" b="1">
                <a:solidFill>
                  <a:srgbClr val="000000"/>
                </a:solidFill>
                <a:cs typeface="Arial" pitchFamily="34" charset="0"/>
              </a:rPr>
              <a:pPr algn="r">
                <a:defRPr/>
              </a:pPr>
              <a:t>‹Nr.›</a:t>
            </a:fld>
            <a:endParaRPr lang="de-CH" sz="600" b="1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58604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98640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8" name="LogoInternational" hidden="1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1" name="LogoSBB"/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03402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63711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9" name="LogoInternational" hidden="1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1" name="LogoSBB"/>
          <p:cNvPicPr>
            <a:picLocks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80024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984545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2720464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668764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79260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2284670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26049953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1911058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4562815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93199536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Inhalts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33811504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nhalts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9944372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5367733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36804985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60354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de-CH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4846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1965769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91205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589" t="-428"/>
          <a:stretch/>
        </p:blipFill>
        <p:spPr bwMode="auto">
          <a:xfrm>
            <a:off x="-526211" y="776909"/>
            <a:ext cx="9670212" cy="42691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1871381251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081778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8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1" name="LogoSBB"/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174890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6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8" name="LogoSBB"/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2250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9" name="LogoInternational" hidden="1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1" name="LogoSBB"/>
          <p:cNvPicPr>
            <a:picLocks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59083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02626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755576" y="2132856"/>
            <a:ext cx="3896533" cy="4176464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t" anchorCtr="0">
            <a:normAutofit/>
          </a:bodyPr>
          <a:lstStyle/>
          <a:p>
            <a:endParaRPr lang="de-CH" sz="1400" dirty="0">
              <a:solidFill>
                <a:srgbClr val="000000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922996" y="2132856"/>
            <a:ext cx="3896533" cy="4176464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t" anchorCtr="0">
            <a:normAutofit/>
          </a:bodyPr>
          <a:lstStyle/>
          <a:p>
            <a:endParaRPr lang="de-CH" sz="14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827584" y="2276872"/>
            <a:ext cx="3816424" cy="4867200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CH" noProof="0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5003105" y="2276872"/>
            <a:ext cx="3816424" cy="4867200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CH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8" hasCustomPrompt="1"/>
          </p:nvPr>
        </p:nvSpPr>
        <p:spPr>
          <a:xfrm>
            <a:off x="755576" y="1772816"/>
            <a:ext cx="3889375" cy="288147"/>
          </a:xfrm>
          <a:solidFill>
            <a:schemeClr val="accent3"/>
          </a:solidFill>
        </p:spPr>
        <p:txBody>
          <a:bodyPr lIns="108000" tIns="36000" rIns="108000" bIns="36000">
            <a:spAutoFit/>
          </a:bodyPr>
          <a:lstStyle>
            <a:lvl1pPr marL="0" indent="0">
              <a:buNone/>
              <a:defRPr sz="1400" b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Head setzen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9" hasCustomPrompt="1"/>
          </p:nvPr>
        </p:nvSpPr>
        <p:spPr>
          <a:xfrm>
            <a:off x="4931097" y="1772816"/>
            <a:ext cx="3889375" cy="288147"/>
          </a:xfrm>
          <a:solidFill>
            <a:schemeClr val="accent3"/>
          </a:solidFill>
        </p:spPr>
        <p:txBody>
          <a:bodyPr lIns="108000" tIns="36000" rIns="108000" bIns="36000">
            <a:spAutoFit/>
          </a:bodyPr>
          <a:lstStyle>
            <a:lvl1pPr marL="0" indent="0">
              <a:buNone/>
              <a:defRPr sz="1400" b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de-DE" dirty="0"/>
              <a:t>Head setzen</a:t>
            </a:r>
          </a:p>
        </p:txBody>
      </p:sp>
    </p:spTree>
    <p:extLst>
      <p:ext uri="{BB962C8B-B14F-4D97-AF65-F5344CB8AC3E}">
        <p14:creationId xmlns:p14="http://schemas.microsoft.com/office/powerpoint/2010/main" val="423820474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Kap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</p:spTree>
    <p:extLst>
      <p:ext uri="{BB962C8B-B14F-4D97-AF65-F5344CB8AC3E}">
        <p14:creationId xmlns:p14="http://schemas.microsoft.com/office/powerpoint/2010/main" val="158372913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0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248328105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Inhal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8394867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12770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Inhalts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55789414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</p:spTree>
    <p:extLst>
      <p:ext uri="{BB962C8B-B14F-4D97-AF65-F5344CB8AC3E}">
        <p14:creationId xmlns:p14="http://schemas.microsoft.com/office/powerpoint/2010/main" val="402710948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755576" y="1484784"/>
            <a:ext cx="2520000" cy="18722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6" name="Rechteck 5"/>
          <p:cNvSpPr/>
          <p:nvPr userDrawn="1"/>
        </p:nvSpPr>
        <p:spPr>
          <a:xfrm>
            <a:off x="3419872" y="1484784"/>
            <a:ext cx="2520000" cy="18722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6084168" y="1484784"/>
            <a:ext cx="2520000" cy="187220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53192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-weiß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7349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637647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/>
          <a:lstStyle/>
          <a:p>
            <a:r>
              <a:rPr lang="de-CH"/>
              <a:t>SBB • Konzern • SBB Consulting • 04.06.2018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32596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72563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80420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/>
          <a:lstStyle/>
          <a:p>
            <a:r>
              <a:rPr lang="de-CH"/>
              <a:t>SBB • Konzern • SBB Consulting • 04.06.2018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0103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02178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8484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963248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3888358" cy="4867200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CH" noProof="0" dirty="0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4930481" y="1657425"/>
            <a:ext cx="3888358" cy="4867200"/>
          </a:xfrm>
        </p:spPr>
        <p:txBody>
          <a:bodyPr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de-CH" noProof="0" dirty="0"/>
          </a:p>
        </p:txBody>
      </p:sp>
    </p:spTree>
    <p:extLst>
      <p:ext uri="{BB962C8B-B14F-4D97-AF65-F5344CB8AC3E}">
        <p14:creationId xmlns:p14="http://schemas.microsoft.com/office/powerpoint/2010/main" val="49248080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80318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89905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4021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08716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94212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41275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79170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87854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Topkaderarbeitskreis vom 11./12.01.2019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8" name="LogoSBB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1363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02308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46426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9335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onz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sz="16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80645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>
              <a:defRPr/>
            </a:pPr>
            <a:endParaRPr lang="de-CH" sz="1600" kern="0" dirty="0">
              <a:solidFill>
                <a:srgbClr val="000000"/>
              </a:solidFill>
            </a:endParaRPr>
          </a:p>
        </p:txBody>
      </p:sp>
      <p:pic>
        <p:nvPicPr>
          <p:cNvPr id="8" name="LogoSBB">
            <a:extLst>
              <a:ext uri="{FF2B5EF4-FFF2-40B4-BE49-F238E27FC236}">
                <a16:creationId xmlns:a16="http://schemas.microsoft.com/office/drawing/2014/main" id="{C480932F-6F20-408D-A412-881D96EBD9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16215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/>
              <a:t>Die Textfolie.</a:t>
            </a:r>
            <a:br>
              <a:rPr lang="de-CH" noProof="0"/>
            </a:br>
            <a:r>
              <a:rPr lang="de-CH" noProof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755900" y="2222856"/>
            <a:ext cx="8064000" cy="4320000"/>
          </a:xfrm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/>
              <a:t>Inhalt, Unit, Zeit, Quell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83061E0-79B6-4A44-B758-8D0E921CE372}"/>
              </a:ext>
            </a:extLst>
          </p:cNvPr>
          <p:cNvSpPr/>
          <p:nvPr userDrawn="1"/>
        </p:nvSpPr>
        <p:spPr>
          <a:xfrm>
            <a:off x="8521350" y="6618257"/>
            <a:ext cx="298800" cy="1224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/>
          <a:p>
            <a:pPr algn="r"/>
            <a:fld id="{553A951D-0F12-409F-AF6D-63C84B060942}" type="slidenum">
              <a:rPr lang="de-CH" sz="600" b="1" smtClean="0">
                <a:latin typeface="SBB Light" pitchFamily="2" charset="0"/>
              </a:rPr>
              <a:t>‹Nr.›</a:t>
            </a:fld>
            <a:endParaRPr lang="de-CH" sz="600" b="1" dirty="0">
              <a:latin typeface="SBB Light" pitchFamily="2" charset="0"/>
            </a:endParaRPr>
          </a:p>
        </p:txBody>
      </p:sp>
      <p:pic>
        <p:nvPicPr>
          <p:cNvPr id="10" name="LogoSBB">
            <a:extLst>
              <a:ext uri="{FF2B5EF4-FFF2-40B4-BE49-F238E27FC236}">
                <a16:creationId xmlns:a16="http://schemas.microsoft.com/office/drawing/2014/main" id="{88441523-E5D8-4509-B813-607552EA8A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16934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241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27" name="Content Placeholder 4"/>
          <p:cNvSpPr>
            <a:spLocks noGrp="1"/>
          </p:cNvSpPr>
          <p:nvPr>
            <p:ph sz="quarter" idx="26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8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" name="Content Placeholder 7"/>
          <p:cNvSpPr>
            <a:spLocks noGrp="1"/>
          </p:cNvSpPr>
          <p:nvPr>
            <p:ph sz="quarter" idx="27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756150" y="262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1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3563650" y="241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2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563650" y="262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3" name="Content Placeholder 4"/>
          <p:cNvSpPr>
            <a:spLocks noGrp="1"/>
          </p:cNvSpPr>
          <p:nvPr>
            <p:ph sz="quarter" idx="31" hasCustomPrompt="1"/>
          </p:nvPr>
        </p:nvSpPr>
        <p:spPr>
          <a:xfrm>
            <a:off x="6371650" y="241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6371650" y="262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5" name="Content Placeholder 4"/>
          <p:cNvSpPr>
            <a:spLocks noGrp="1"/>
          </p:cNvSpPr>
          <p:nvPr>
            <p:ph sz="quarter" idx="33" hasCustomPrompt="1"/>
          </p:nvPr>
        </p:nvSpPr>
        <p:spPr>
          <a:xfrm>
            <a:off x="756150" y="4500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6" name="Textplatzhalter 6"/>
          <p:cNvSpPr>
            <a:spLocks noGrp="1"/>
          </p:cNvSpPr>
          <p:nvPr>
            <p:ph type="body" sz="quarter" idx="34" hasCustomPrompt="1"/>
          </p:nvPr>
        </p:nvSpPr>
        <p:spPr>
          <a:xfrm>
            <a:off x="756150" y="4716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7" name="Content Placeholder 4"/>
          <p:cNvSpPr>
            <a:spLocks noGrp="1"/>
          </p:cNvSpPr>
          <p:nvPr>
            <p:ph sz="quarter" idx="35" hasCustomPrompt="1"/>
          </p:nvPr>
        </p:nvSpPr>
        <p:spPr>
          <a:xfrm>
            <a:off x="3563650" y="4500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8" name="Textplatzhalter 6"/>
          <p:cNvSpPr>
            <a:spLocks noGrp="1"/>
          </p:cNvSpPr>
          <p:nvPr>
            <p:ph type="body" sz="quarter" idx="36" hasCustomPrompt="1"/>
          </p:nvPr>
        </p:nvSpPr>
        <p:spPr>
          <a:xfrm>
            <a:off x="3563650" y="4716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9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6371650" y="4500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60" name="Textplatzhalter 6"/>
          <p:cNvSpPr>
            <a:spLocks noGrp="1"/>
          </p:cNvSpPr>
          <p:nvPr>
            <p:ph type="body" sz="quarter" idx="38" hasCustomPrompt="1"/>
          </p:nvPr>
        </p:nvSpPr>
        <p:spPr>
          <a:xfrm>
            <a:off x="6371650" y="4716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pic>
        <p:nvPicPr>
          <p:cNvPr id="19" name="LogoSBB">
            <a:extLst>
              <a:ext uri="{FF2B5EF4-FFF2-40B4-BE49-F238E27FC236}">
                <a16:creationId xmlns:a16="http://schemas.microsoft.com/office/drawing/2014/main" id="{04222871-13B3-450B-886A-EACA8DD566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32603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pic>
        <p:nvPicPr>
          <p:cNvPr id="7" name="LogoSBB">
            <a:extLst>
              <a:ext uri="{FF2B5EF4-FFF2-40B4-BE49-F238E27FC236}">
                <a16:creationId xmlns:a16="http://schemas.microsoft.com/office/drawing/2014/main" id="{B52BA3C5-E6A2-417A-93D6-C8564BE4DE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01628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LogoSBB">
            <a:extLst>
              <a:ext uri="{FF2B5EF4-FFF2-40B4-BE49-F238E27FC236}">
                <a16:creationId xmlns:a16="http://schemas.microsoft.com/office/drawing/2014/main" id="{839C9559-6336-4863-8CE1-9D636F891D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56269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de-DE" sz="2400" b="1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179512" y="1440000"/>
            <a:ext cx="3600000" cy="1602000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sz="2400" b="1" dirty="0">
                <a:solidFill>
                  <a:schemeClr val="bg1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</a:pPr>
            <a:r>
              <a:rPr lang="de-CH" dirty="0"/>
              <a:t>Titel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179512" y="3333600"/>
            <a:ext cx="3600000" cy="769441"/>
          </a:xfrm>
          <a:noFill/>
        </p:spPr>
        <p:txBody>
          <a:bodyPr wrap="square"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sz="2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CH" dirty="0"/>
              <a:t>Thema</a:t>
            </a:r>
          </a:p>
          <a:p>
            <a:pPr marL="0" lvl="0"/>
            <a:r>
              <a:rPr lang="de-CH" dirty="0"/>
              <a:t>MMMM JJJJ</a:t>
            </a:r>
          </a:p>
        </p:txBody>
      </p:sp>
    </p:spTree>
    <p:extLst>
      <p:ext uri="{BB962C8B-B14F-4D97-AF65-F5344CB8AC3E}">
        <p14:creationId xmlns:p14="http://schemas.microsoft.com/office/powerpoint/2010/main" val="358347236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9144000" cy="6858000"/>
          </a:xfrm>
        </p:spPr>
        <p:txBody>
          <a:bodyPr/>
          <a:lstStyle/>
          <a:p>
            <a:endParaRPr lang="de-CH"/>
          </a:p>
        </p:txBody>
      </p:sp>
      <p:sp>
        <p:nvSpPr>
          <p:cNvPr id="2" name="Flowchart: Manual Input 1"/>
          <p:cNvSpPr/>
          <p:nvPr userDrawn="1"/>
        </p:nvSpPr>
        <p:spPr>
          <a:xfrm rot="5400000">
            <a:off x="2250000" y="2807999"/>
            <a:ext cx="1800000" cy="630000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3281 w 10000"/>
              <a:gd name="connsiteY0" fmla="*/ 0 h 10007"/>
              <a:gd name="connsiteX1" fmla="*/ 10000 w 10000"/>
              <a:gd name="connsiteY1" fmla="*/ 7 h 10007"/>
              <a:gd name="connsiteX2" fmla="*/ 10000 w 10000"/>
              <a:gd name="connsiteY2" fmla="*/ 10007 h 10007"/>
              <a:gd name="connsiteX3" fmla="*/ 0 w 10000"/>
              <a:gd name="connsiteY3" fmla="*/ 10007 h 10007"/>
              <a:gd name="connsiteX4" fmla="*/ 3281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3281" y="0"/>
                </a:moveTo>
                <a:lnTo>
                  <a:pt x="10000" y="7"/>
                </a:lnTo>
                <a:lnTo>
                  <a:pt x="10000" y="10007"/>
                </a:lnTo>
                <a:lnTo>
                  <a:pt x="0" y="10007"/>
                </a:lnTo>
                <a:lnTo>
                  <a:pt x="3281" y="0"/>
                </a:lnTo>
                <a:close/>
              </a:path>
            </a:pathLst>
          </a:custGeom>
          <a:solidFill>
            <a:srgbClr val="FF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216000" tIns="108000" rIns="432000" bIns="144000" rtlCol="0" anchor="t" anchorCtr="0">
            <a:noAutofit/>
          </a:bodyPr>
          <a:lstStyle/>
          <a:p>
            <a:pPr lvl="0" indent="0" algn="ctr" eaLnBrk="1">
              <a:lnSpc>
                <a:spcPts val="2500"/>
              </a:lnSpc>
              <a:spcBef>
                <a:spcPts val="1000"/>
              </a:spcBef>
              <a:buClr>
                <a:srgbClr val="FF0000"/>
              </a:buClr>
              <a:buSzPct val="80000"/>
              <a:buFont typeface="Wingdings 3" pitchFamily="18" charset="2"/>
              <a:buNone/>
            </a:pPr>
            <a:endParaRPr lang="de-CH" sz="2400" b="1" noProof="0" dirty="0">
              <a:solidFill>
                <a:srgbClr val="FF0000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5589240"/>
            <a:ext cx="5292120" cy="778928"/>
          </a:xfrm>
        </p:spPr>
        <p:txBody>
          <a:bodyPr vert="horz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sz="2400" b="1" dirty="0">
                <a:solidFill>
                  <a:schemeClr val="bg1"/>
                </a:solidFill>
                <a:ea typeface="+mj-ea"/>
              </a:defRPr>
            </a:lvl1pPr>
          </a:lstStyle>
          <a:p>
            <a:pPr lvl="0">
              <a:spcBef>
                <a:spcPct val="0"/>
              </a:spcBef>
            </a:pPr>
            <a:r>
              <a:rPr lang="de-CH" dirty="0"/>
              <a:t>Titel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470651"/>
            <a:ext cx="5292120" cy="387350"/>
          </a:xfrm>
          <a:noFill/>
        </p:spPr>
        <p:txBody>
          <a:bodyPr wrap="square"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sz="20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de-CH" dirty="0"/>
              <a:t>Thema</a:t>
            </a:r>
          </a:p>
        </p:txBody>
      </p:sp>
    </p:spTree>
    <p:extLst>
      <p:ext uri="{BB962C8B-B14F-4D97-AF65-F5344CB8AC3E}">
        <p14:creationId xmlns:p14="http://schemas.microsoft.com/office/powerpoint/2010/main" val="3316497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71840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Hider"/>
          <p:cNvSpPr/>
          <p:nvPr userDrawn="1"/>
        </p:nvSpPr>
        <p:spPr bwMode="white">
          <a:xfrm>
            <a:off x="3448" y="1340768"/>
            <a:ext cx="9144000" cy="55172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de-CH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anchor="t" anchorCtr="0">
            <a:noAutofit/>
          </a:bodyPr>
          <a:lstStyle>
            <a:lvl1pPr>
              <a:lnSpc>
                <a:spcPct val="100000"/>
              </a:lnSpc>
              <a:defRPr sz="3000" b="1" baseline="0">
                <a:solidFill>
                  <a:schemeClr val="tx1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2"/>
            <a:ext cx="8065266" cy="246221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</p:spTree>
    <p:extLst>
      <p:ext uri="{BB962C8B-B14F-4D97-AF65-F5344CB8AC3E}">
        <p14:creationId xmlns:p14="http://schemas.microsoft.com/office/powerpoint/2010/main" val="347732931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</p:spTree>
    <p:extLst>
      <p:ext uri="{BB962C8B-B14F-4D97-AF65-F5344CB8AC3E}">
        <p14:creationId xmlns:p14="http://schemas.microsoft.com/office/powerpoint/2010/main" val="351262339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 Text g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981200"/>
            <a:ext cx="8064500" cy="454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8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‒"/>
              <a:defRPr sz="18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8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‒"/>
              <a:defRPr sz="18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pic>
        <p:nvPicPr>
          <p:cNvPr id="4" name="LogoSBB">
            <a:extLst>
              <a:ext uri="{FF2B5EF4-FFF2-40B4-BE49-F238E27FC236}">
                <a16:creationId xmlns:a16="http://schemas.microsoft.com/office/drawing/2014/main" id="{1BEE0FC2-BC65-46EA-8A30-F999566222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53729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räsentation Text gross und sch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87900" y="1981200"/>
            <a:ext cx="5400000" cy="4542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8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‒"/>
              <a:defRPr sz="18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8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‒"/>
              <a:defRPr sz="18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pic>
        <p:nvPicPr>
          <p:cNvPr id="4" name="LogoSBB">
            <a:extLst>
              <a:ext uri="{FF2B5EF4-FFF2-40B4-BE49-F238E27FC236}">
                <a16:creationId xmlns:a16="http://schemas.microsoft.com/office/drawing/2014/main" id="{F7862543-9CB8-4875-A503-1C5396583E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09993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 Text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4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4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4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4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pic>
        <p:nvPicPr>
          <p:cNvPr id="5" name="LogoSBB">
            <a:extLst>
              <a:ext uri="{FF2B5EF4-FFF2-40B4-BE49-F238E27FC236}">
                <a16:creationId xmlns:a16="http://schemas.microsoft.com/office/drawing/2014/main" id="{4F4320E6-26C9-4E9F-A977-9D6338E96C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57328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äsentation Text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pic>
        <p:nvPicPr>
          <p:cNvPr id="4" name="LogoSBB">
            <a:extLst>
              <a:ext uri="{FF2B5EF4-FFF2-40B4-BE49-F238E27FC236}">
                <a16:creationId xmlns:a16="http://schemas.microsoft.com/office/drawing/2014/main" id="{552BE265-AB40-4391-815F-9C790F3617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64191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SpaltenText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656000"/>
            <a:ext cx="3600000" cy="4867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4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4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4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4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220150" y="1656000"/>
            <a:ext cx="3600000" cy="4867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4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4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4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4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pic>
        <p:nvPicPr>
          <p:cNvPr id="5" name="LogoSBB">
            <a:extLst>
              <a:ext uri="{FF2B5EF4-FFF2-40B4-BE49-F238E27FC236}">
                <a16:creationId xmlns:a16="http://schemas.microsoft.com/office/drawing/2014/main" id="{5D9AD48A-A087-457B-82AB-4FBD3C742C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11850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7" name="LogoSBB">
            <a:extLst>
              <a:ext uri="{FF2B5EF4-FFF2-40B4-BE49-F238E27FC236}">
                <a16:creationId xmlns:a16="http://schemas.microsoft.com/office/drawing/2014/main" id="{4542841F-414D-4C1F-B3C6-4BF815D59F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50231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z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80645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</a:t>
            </a:r>
            <a:r>
              <a:rPr lang="de-CH" noProof="0" dirty="0" err="1"/>
              <a:t>Ebenef</a:t>
            </a:r>
            <a:endParaRPr lang="de-CH" noProof="0" dirty="0"/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8" name="LogoSBB">
            <a:extLst>
              <a:ext uri="{FF2B5EF4-FFF2-40B4-BE49-F238E27FC236}">
                <a16:creationId xmlns:a16="http://schemas.microsoft.com/office/drawing/2014/main" id="{7B0EF506-81B4-4C0B-AA24-48C84686FA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34416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-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36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220150" y="2230438"/>
            <a:ext cx="36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pic>
        <p:nvPicPr>
          <p:cNvPr id="8" name="LogoSBB">
            <a:extLst>
              <a:ext uri="{FF2B5EF4-FFF2-40B4-BE49-F238E27FC236}">
                <a16:creationId xmlns:a16="http://schemas.microsoft.com/office/drawing/2014/main" id="{835EBAED-9010-4AD3-B7E8-38EA0276A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2568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1113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5" name="Freeform 1"/>
          <p:cNvSpPr/>
          <p:nvPr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40865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2-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36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5220150" y="15480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220150" y="2230438"/>
            <a:ext cx="36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4" name="Line 8"/>
          <p:cNvSpPr>
            <a:spLocks noChangeShapeType="1"/>
          </p:cNvSpPr>
          <p:nvPr userDrawn="1"/>
        </p:nvSpPr>
        <p:spPr bwMode="gray">
          <a:xfrm flipV="1">
            <a:off x="5220150" y="1980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0" name="LogoSBB">
            <a:extLst>
              <a:ext uri="{FF2B5EF4-FFF2-40B4-BE49-F238E27FC236}">
                <a16:creationId xmlns:a16="http://schemas.microsoft.com/office/drawing/2014/main" id="{5ABF7B2F-9440-404F-BBAC-D52C0D9315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90052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-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2448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563900" y="2230438"/>
            <a:ext cx="2448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372150" y="2230438"/>
            <a:ext cx="2448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92772370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zept - 3 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2448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3563900" y="15480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563900" y="2230438"/>
            <a:ext cx="2448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4" name="Line 8"/>
          <p:cNvSpPr>
            <a:spLocks noChangeShapeType="1"/>
          </p:cNvSpPr>
          <p:nvPr userDrawn="1"/>
        </p:nvSpPr>
        <p:spPr bwMode="gray">
          <a:xfrm flipV="1">
            <a:off x="3563900" y="1980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6372150" y="15480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372150" y="2230438"/>
            <a:ext cx="2448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7" name="Line 8"/>
          <p:cNvSpPr>
            <a:spLocks noChangeShapeType="1"/>
          </p:cNvSpPr>
          <p:nvPr userDrawn="1"/>
        </p:nvSpPr>
        <p:spPr bwMode="gray">
          <a:xfrm flipV="1">
            <a:off x="6372150" y="1980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0777840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zept 3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8002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2448000" cy="432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2232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3563900" y="18002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563900" y="2230438"/>
            <a:ext cx="2448000" cy="432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4" name="Line 8"/>
          <p:cNvSpPr>
            <a:spLocks noChangeShapeType="1"/>
          </p:cNvSpPr>
          <p:nvPr userDrawn="1"/>
        </p:nvSpPr>
        <p:spPr bwMode="gray">
          <a:xfrm flipV="1">
            <a:off x="3563900" y="2232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6372150" y="18002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6372150" y="2230438"/>
            <a:ext cx="2448000" cy="432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7" name="Line 8"/>
          <p:cNvSpPr>
            <a:spLocks noChangeShapeType="1"/>
          </p:cNvSpPr>
          <p:nvPr userDrawn="1"/>
        </p:nvSpPr>
        <p:spPr bwMode="gray">
          <a:xfrm flipV="1">
            <a:off x="6372150" y="2232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3380439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zept -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18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0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0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0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0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843817" y="2230438"/>
            <a:ext cx="18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0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0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0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0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931984" y="2230438"/>
            <a:ext cx="18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0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0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0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0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020150" y="2230438"/>
            <a:ext cx="18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0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0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0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0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108054735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zept - 4 Spalten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952000"/>
            <a:ext cx="1800000" cy="260281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0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0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0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0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2843817" y="2952000"/>
            <a:ext cx="1800000" cy="260281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0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0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0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0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4931984" y="2952000"/>
            <a:ext cx="1800000" cy="260281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0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0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0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0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020150" y="2952000"/>
            <a:ext cx="1800000" cy="260281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0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0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0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0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0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34097136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zept - 4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3600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220150" y="2230438"/>
            <a:ext cx="3600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4356000"/>
            <a:ext cx="3600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5220150" y="4356000"/>
            <a:ext cx="3600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74613364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zept 4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980000"/>
            <a:ext cx="3600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5220150" y="15480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220150" y="1980000"/>
            <a:ext cx="3600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4" name="Line 8"/>
          <p:cNvSpPr>
            <a:spLocks noChangeShapeType="1"/>
          </p:cNvSpPr>
          <p:nvPr userDrawn="1"/>
        </p:nvSpPr>
        <p:spPr bwMode="gray">
          <a:xfrm flipV="1">
            <a:off x="5220150" y="1980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756150" y="39602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755650" y="4392000"/>
            <a:ext cx="3600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7" name="Line 8"/>
          <p:cNvSpPr>
            <a:spLocks noChangeShapeType="1"/>
          </p:cNvSpPr>
          <p:nvPr userDrawn="1"/>
        </p:nvSpPr>
        <p:spPr bwMode="gray">
          <a:xfrm flipV="1">
            <a:off x="756150" y="4392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9" hasCustomPrompt="1"/>
          </p:nvPr>
        </p:nvSpPr>
        <p:spPr>
          <a:xfrm>
            <a:off x="5220150" y="39602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5220150" y="4392000"/>
            <a:ext cx="3600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20" name="Line 8"/>
          <p:cNvSpPr>
            <a:spLocks noChangeShapeType="1"/>
          </p:cNvSpPr>
          <p:nvPr userDrawn="1"/>
        </p:nvSpPr>
        <p:spPr bwMode="gray">
          <a:xfrm flipV="1">
            <a:off x="5220150" y="4392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de-CH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9513230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zept - 6 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2448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563900" y="2230438"/>
            <a:ext cx="2448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6372150" y="2230438"/>
            <a:ext cx="2448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4356000"/>
            <a:ext cx="2448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3563900" y="4356000"/>
            <a:ext cx="2448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9" hasCustomPrompt="1"/>
          </p:nvPr>
        </p:nvSpPr>
        <p:spPr>
          <a:xfrm>
            <a:off x="6372150" y="4356000"/>
            <a:ext cx="2448000" cy="180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123585896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onzept 6 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980000"/>
            <a:ext cx="2448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3563900" y="15480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563900" y="1980000"/>
            <a:ext cx="2448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4" name="Line 8"/>
          <p:cNvSpPr>
            <a:spLocks noChangeShapeType="1"/>
          </p:cNvSpPr>
          <p:nvPr userDrawn="1"/>
        </p:nvSpPr>
        <p:spPr bwMode="gray">
          <a:xfrm flipV="1">
            <a:off x="3563900" y="1980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756150" y="39602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8" hasCustomPrompt="1"/>
          </p:nvPr>
        </p:nvSpPr>
        <p:spPr>
          <a:xfrm>
            <a:off x="755650" y="4392000"/>
            <a:ext cx="2448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7" name="Line 8"/>
          <p:cNvSpPr>
            <a:spLocks noChangeShapeType="1"/>
          </p:cNvSpPr>
          <p:nvPr userDrawn="1"/>
        </p:nvSpPr>
        <p:spPr bwMode="gray">
          <a:xfrm flipV="1">
            <a:off x="756150" y="4392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9" hasCustomPrompt="1"/>
          </p:nvPr>
        </p:nvSpPr>
        <p:spPr>
          <a:xfrm>
            <a:off x="3563900" y="39602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20" hasCustomPrompt="1"/>
          </p:nvPr>
        </p:nvSpPr>
        <p:spPr>
          <a:xfrm>
            <a:off x="3563900" y="4392000"/>
            <a:ext cx="2448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20" name="Line 8"/>
          <p:cNvSpPr>
            <a:spLocks noChangeShapeType="1"/>
          </p:cNvSpPr>
          <p:nvPr userDrawn="1"/>
        </p:nvSpPr>
        <p:spPr bwMode="gray">
          <a:xfrm flipV="1">
            <a:off x="3563900" y="4392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Content Placeholder 4"/>
          <p:cNvSpPr>
            <a:spLocks noGrp="1"/>
          </p:cNvSpPr>
          <p:nvPr>
            <p:ph sz="quarter" idx="21" hasCustomPrompt="1"/>
          </p:nvPr>
        </p:nvSpPr>
        <p:spPr>
          <a:xfrm>
            <a:off x="6372150" y="15480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22" hasCustomPrompt="1"/>
          </p:nvPr>
        </p:nvSpPr>
        <p:spPr>
          <a:xfrm>
            <a:off x="6372150" y="1980000"/>
            <a:ext cx="2448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23" name="Line 8"/>
          <p:cNvSpPr>
            <a:spLocks noChangeShapeType="1"/>
          </p:cNvSpPr>
          <p:nvPr userDrawn="1"/>
        </p:nvSpPr>
        <p:spPr bwMode="gray">
          <a:xfrm flipV="1">
            <a:off x="6372150" y="1980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Content Placeholder 4"/>
          <p:cNvSpPr>
            <a:spLocks noGrp="1"/>
          </p:cNvSpPr>
          <p:nvPr>
            <p:ph sz="quarter" idx="23" hasCustomPrompt="1"/>
          </p:nvPr>
        </p:nvSpPr>
        <p:spPr>
          <a:xfrm>
            <a:off x="6372150" y="3960200"/>
            <a:ext cx="2448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6372150" y="4392000"/>
            <a:ext cx="2448000" cy="1800000"/>
          </a:xfrm>
        </p:spPr>
        <p:txBody>
          <a:bodyPr tIns="7200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26" name="Line 8"/>
          <p:cNvSpPr>
            <a:spLocks noChangeShapeType="1"/>
          </p:cNvSpPr>
          <p:nvPr userDrawn="1"/>
        </p:nvSpPr>
        <p:spPr bwMode="gray">
          <a:xfrm flipV="1">
            <a:off x="6372150" y="4392000"/>
            <a:ext cx="2448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37324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27080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755900" y="1981200"/>
            <a:ext cx="8064000" cy="4570800"/>
          </a:xfrm>
        </p:spPr>
        <p:txBody>
          <a:bodyPr>
            <a:noAutofit/>
          </a:bodyPr>
          <a:lstStyle/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4350276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755900" y="2232000"/>
            <a:ext cx="8064000" cy="4320000"/>
          </a:xfrm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377546357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81372211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755900" y="2232000"/>
            <a:ext cx="3600000" cy="4320000"/>
          </a:xfrm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755650" y="1980000"/>
            <a:ext cx="3600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7" hasCustomPrompt="1"/>
          </p:nvPr>
        </p:nvSpPr>
        <p:spPr>
          <a:xfrm>
            <a:off x="5220150" y="15480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5" name="Line 8"/>
          <p:cNvSpPr>
            <a:spLocks noChangeShapeType="1"/>
          </p:cNvSpPr>
          <p:nvPr userDrawn="1"/>
        </p:nvSpPr>
        <p:spPr bwMode="gray">
          <a:xfrm flipV="1">
            <a:off x="5220150" y="1980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Table Placeholder 11"/>
          <p:cNvSpPr>
            <a:spLocks noGrp="1"/>
          </p:cNvSpPr>
          <p:nvPr>
            <p:ph type="tbl" sz="quarter" idx="18"/>
          </p:nvPr>
        </p:nvSpPr>
        <p:spPr>
          <a:xfrm>
            <a:off x="5220150" y="2232000"/>
            <a:ext cx="3600000" cy="4320000"/>
          </a:xfrm>
        </p:spPr>
        <p:txBody>
          <a:bodyPr>
            <a:noAutofit/>
          </a:bodyPr>
          <a:lstStyle/>
          <a:p>
            <a:endParaRPr lang="de-CH" dirty="0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9" hasCustomPrompt="1"/>
          </p:nvPr>
        </p:nvSpPr>
        <p:spPr>
          <a:xfrm>
            <a:off x="5220150" y="1980000"/>
            <a:ext cx="3600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195338542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1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2772000"/>
            <a:ext cx="3600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756150" y="2988000"/>
            <a:ext cx="3600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22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5220150" y="2772000"/>
            <a:ext cx="3600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5220150" y="2988000"/>
            <a:ext cx="3600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182529547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1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1476000" y="277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1476000" y="298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22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5652000" y="277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5652000" y="298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6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328096075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277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756150" y="298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21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3563650" y="277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563650" y="298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31" hasCustomPrompt="1"/>
          </p:nvPr>
        </p:nvSpPr>
        <p:spPr>
          <a:xfrm>
            <a:off x="6371650" y="277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6371650" y="298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292429165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277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1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3563650" y="277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31" hasCustomPrompt="1"/>
          </p:nvPr>
        </p:nvSpPr>
        <p:spPr>
          <a:xfrm>
            <a:off x="6371650" y="277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</p:spTree>
    <p:extLst>
      <p:ext uri="{BB962C8B-B14F-4D97-AF65-F5344CB8AC3E}">
        <p14:creationId xmlns:p14="http://schemas.microsoft.com/office/powerpoint/2010/main" val="256210914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2772000"/>
            <a:ext cx="1746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756150" y="2988000"/>
            <a:ext cx="1746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21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2861983" y="2772000"/>
            <a:ext cx="1746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2861983" y="2988000"/>
            <a:ext cx="1746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31" hasCustomPrompt="1"/>
          </p:nvPr>
        </p:nvSpPr>
        <p:spPr>
          <a:xfrm>
            <a:off x="4967816" y="2772000"/>
            <a:ext cx="1746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4967816" y="2988000"/>
            <a:ext cx="1746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33" hasCustomPrompt="1"/>
          </p:nvPr>
        </p:nvSpPr>
        <p:spPr>
          <a:xfrm>
            <a:off x="7073650" y="2772000"/>
            <a:ext cx="1746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4" hasCustomPrompt="1"/>
          </p:nvPr>
        </p:nvSpPr>
        <p:spPr>
          <a:xfrm>
            <a:off x="7073650" y="2988000"/>
            <a:ext cx="1746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366023028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20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Content Placeholder 7"/>
          <p:cNvSpPr>
            <a:spLocks noGrp="1"/>
          </p:cNvSpPr>
          <p:nvPr>
            <p:ph sz="quarter" idx="21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2772000"/>
            <a:ext cx="1746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1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2861983" y="2772000"/>
            <a:ext cx="1746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3" name="Content Placeholder 4"/>
          <p:cNvSpPr>
            <a:spLocks noGrp="1"/>
          </p:cNvSpPr>
          <p:nvPr>
            <p:ph sz="quarter" idx="31" hasCustomPrompt="1"/>
          </p:nvPr>
        </p:nvSpPr>
        <p:spPr>
          <a:xfrm>
            <a:off x="4967816" y="2772000"/>
            <a:ext cx="1746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33" hasCustomPrompt="1"/>
          </p:nvPr>
        </p:nvSpPr>
        <p:spPr>
          <a:xfrm>
            <a:off x="7073650" y="2772000"/>
            <a:ext cx="1746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</p:spTree>
    <p:extLst>
      <p:ext uri="{BB962C8B-B14F-4D97-AF65-F5344CB8AC3E}">
        <p14:creationId xmlns:p14="http://schemas.microsoft.com/office/powerpoint/2010/main" val="21342093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89420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2412000"/>
            <a:ext cx="3600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27" name="Content Placeholder 4"/>
          <p:cNvSpPr>
            <a:spLocks noGrp="1"/>
          </p:cNvSpPr>
          <p:nvPr>
            <p:ph sz="quarter" idx="26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8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" name="Content Placeholder 7"/>
          <p:cNvSpPr>
            <a:spLocks noGrp="1"/>
          </p:cNvSpPr>
          <p:nvPr>
            <p:ph sz="quarter" idx="27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756150" y="2628000"/>
            <a:ext cx="3600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1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5220150" y="2412000"/>
            <a:ext cx="3600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2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5220150" y="2628000"/>
            <a:ext cx="3600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5" name="Content Placeholder 4"/>
          <p:cNvSpPr>
            <a:spLocks noGrp="1"/>
          </p:cNvSpPr>
          <p:nvPr>
            <p:ph sz="quarter" idx="33" hasCustomPrompt="1"/>
          </p:nvPr>
        </p:nvSpPr>
        <p:spPr>
          <a:xfrm>
            <a:off x="756150" y="4500000"/>
            <a:ext cx="3600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6" name="Textplatzhalter 6"/>
          <p:cNvSpPr>
            <a:spLocks noGrp="1"/>
          </p:cNvSpPr>
          <p:nvPr>
            <p:ph type="body" sz="quarter" idx="34" hasCustomPrompt="1"/>
          </p:nvPr>
        </p:nvSpPr>
        <p:spPr>
          <a:xfrm>
            <a:off x="756150" y="4716000"/>
            <a:ext cx="3600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7" name="Content Placeholder 4"/>
          <p:cNvSpPr>
            <a:spLocks noGrp="1"/>
          </p:cNvSpPr>
          <p:nvPr>
            <p:ph sz="quarter" idx="35" hasCustomPrompt="1"/>
          </p:nvPr>
        </p:nvSpPr>
        <p:spPr>
          <a:xfrm>
            <a:off x="5220150" y="4500000"/>
            <a:ext cx="3600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8" name="Textplatzhalter 6"/>
          <p:cNvSpPr>
            <a:spLocks noGrp="1"/>
          </p:cNvSpPr>
          <p:nvPr>
            <p:ph type="body" sz="quarter" idx="36" hasCustomPrompt="1"/>
          </p:nvPr>
        </p:nvSpPr>
        <p:spPr>
          <a:xfrm>
            <a:off x="5220150" y="4716000"/>
            <a:ext cx="3600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138327566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241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27" name="Content Placeholder 4"/>
          <p:cNvSpPr>
            <a:spLocks noGrp="1"/>
          </p:cNvSpPr>
          <p:nvPr>
            <p:ph sz="quarter" idx="26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8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9" name="Content Placeholder 7"/>
          <p:cNvSpPr>
            <a:spLocks noGrp="1"/>
          </p:cNvSpPr>
          <p:nvPr>
            <p:ph sz="quarter" idx="27" hasCustomPrompt="1"/>
          </p:nvPr>
        </p:nvSpPr>
        <p:spPr>
          <a:xfrm>
            <a:off x="755650" y="1980000"/>
            <a:ext cx="8064000" cy="180000"/>
          </a:xfrm>
        </p:spPr>
        <p:txBody>
          <a:bodyPr tIns="18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de-CH" noProof="0" dirty="0"/>
              <a:t>Inhalt, Unit, Zeit, Quel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756150" y="262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1" name="Content Placeholder 4"/>
          <p:cNvSpPr>
            <a:spLocks noGrp="1"/>
          </p:cNvSpPr>
          <p:nvPr>
            <p:ph sz="quarter" idx="29" hasCustomPrompt="1"/>
          </p:nvPr>
        </p:nvSpPr>
        <p:spPr>
          <a:xfrm>
            <a:off x="3563650" y="241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2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3563650" y="262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3" name="Content Placeholder 4"/>
          <p:cNvSpPr>
            <a:spLocks noGrp="1"/>
          </p:cNvSpPr>
          <p:nvPr>
            <p:ph sz="quarter" idx="31" hasCustomPrompt="1"/>
          </p:nvPr>
        </p:nvSpPr>
        <p:spPr>
          <a:xfrm>
            <a:off x="6371650" y="2412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6371650" y="2628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5" name="Content Placeholder 4"/>
          <p:cNvSpPr>
            <a:spLocks noGrp="1"/>
          </p:cNvSpPr>
          <p:nvPr>
            <p:ph sz="quarter" idx="33" hasCustomPrompt="1"/>
          </p:nvPr>
        </p:nvSpPr>
        <p:spPr>
          <a:xfrm>
            <a:off x="756150" y="4500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6" name="Textplatzhalter 6"/>
          <p:cNvSpPr>
            <a:spLocks noGrp="1"/>
          </p:cNvSpPr>
          <p:nvPr>
            <p:ph type="body" sz="quarter" idx="34" hasCustomPrompt="1"/>
          </p:nvPr>
        </p:nvSpPr>
        <p:spPr>
          <a:xfrm>
            <a:off x="756150" y="4716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7" name="Content Placeholder 4"/>
          <p:cNvSpPr>
            <a:spLocks noGrp="1"/>
          </p:cNvSpPr>
          <p:nvPr>
            <p:ph sz="quarter" idx="35" hasCustomPrompt="1"/>
          </p:nvPr>
        </p:nvSpPr>
        <p:spPr>
          <a:xfrm>
            <a:off x="3563650" y="4500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58" name="Textplatzhalter 6"/>
          <p:cNvSpPr>
            <a:spLocks noGrp="1"/>
          </p:cNvSpPr>
          <p:nvPr>
            <p:ph type="body" sz="quarter" idx="36" hasCustomPrompt="1"/>
          </p:nvPr>
        </p:nvSpPr>
        <p:spPr>
          <a:xfrm>
            <a:off x="3563650" y="4716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  <p:sp>
        <p:nvSpPr>
          <p:cNvPr id="59" name="Content Placeholder 4"/>
          <p:cNvSpPr>
            <a:spLocks noGrp="1"/>
          </p:cNvSpPr>
          <p:nvPr>
            <p:ph sz="quarter" idx="37" hasCustomPrompt="1"/>
          </p:nvPr>
        </p:nvSpPr>
        <p:spPr>
          <a:xfrm>
            <a:off x="6371650" y="4500000"/>
            <a:ext cx="2448000" cy="2160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CH" sz="1200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Chart Name</a:t>
            </a:r>
          </a:p>
        </p:txBody>
      </p:sp>
      <p:sp>
        <p:nvSpPr>
          <p:cNvPr id="60" name="Textplatzhalter 6"/>
          <p:cNvSpPr>
            <a:spLocks noGrp="1"/>
          </p:cNvSpPr>
          <p:nvPr>
            <p:ph type="body" sz="quarter" idx="38" hasCustomPrompt="1"/>
          </p:nvPr>
        </p:nvSpPr>
        <p:spPr>
          <a:xfrm>
            <a:off x="6371650" y="4716000"/>
            <a:ext cx="2448000" cy="180000"/>
          </a:xfrm>
        </p:spPr>
        <p:txBody>
          <a:bodyPr vert="horz" lIns="0" tIns="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 lang="de-DE" sz="900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CH" dirty="0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lang="de-DE" dirty="0"/>
              <a:t>Inhalt, Unit, Zeit, Quelle</a:t>
            </a:r>
          </a:p>
        </p:txBody>
      </p:sp>
    </p:spTree>
    <p:extLst>
      <p:ext uri="{BB962C8B-B14F-4D97-AF65-F5344CB8AC3E}">
        <p14:creationId xmlns:p14="http://schemas.microsoft.com/office/powerpoint/2010/main" val="3604878012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5" name="LogoSBB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302599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1" y="876302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51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4" name="LogoCargo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242"/>
          <a:stretch/>
        </p:blipFill>
        <p:spPr>
          <a:xfrm>
            <a:off x="8176595" y="324000"/>
            <a:ext cx="642169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33544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2279138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äsentation Text g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981200"/>
            <a:ext cx="8064500" cy="4542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8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‒"/>
              <a:defRPr sz="18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8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‒"/>
              <a:defRPr sz="18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66553291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räsentation Text gross und sch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087900" y="1981200"/>
            <a:ext cx="5400000" cy="4542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18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8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SzPct val="100000"/>
              <a:buFont typeface="Arial" panose="020B0604020202020204" pitchFamily="34" charset="0"/>
              <a:buChar char="‒"/>
              <a:defRPr sz="18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8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‒"/>
              <a:defRPr sz="18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3675707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äsentation Text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4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4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4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4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87002956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äsentation Text kl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05404602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SpaltenText m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1656000"/>
            <a:ext cx="3600000" cy="4867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4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4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4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4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5220150" y="1656000"/>
            <a:ext cx="3600000" cy="48672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4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4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4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/>
            </a:lvl5pPr>
            <a:lvl6pPr marL="627063" indent="-176213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‒"/>
              <a:defRPr sz="14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0168658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05249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Konz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40611885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Konze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80645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</a:t>
            </a:r>
            <a:r>
              <a:rPr lang="de-CH" noProof="0" dirty="0" err="1"/>
              <a:t>Ebenef</a:t>
            </a:r>
            <a:endParaRPr lang="de-CH" noProof="0" dirty="0"/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6414027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zept -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8064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36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8064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220150" y="2230438"/>
            <a:ext cx="36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420818886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zept 2-Blöck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756150" y="15480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55650" y="692150"/>
            <a:ext cx="8064500" cy="738664"/>
          </a:xfrm>
          <a:noFill/>
        </p:spPr>
        <p:txBody>
          <a:bodyPr/>
          <a:lstStyle>
            <a:lvl1pPr>
              <a:defRPr sz="20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55650" y="2230438"/>
            <a:ext cx="36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 flipV="1">
            <a:off x="756150" y="1980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5220150" y="1548000"/>
            <a:ext cx="3600000" cy="431800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5220150" y="2230438"/>
            <a:ext cx="3600000" cy="432000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/>
            </a:lvl1pPr>
            <a:lvl2pPr marL="179388" indent="-179388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" panose="020B0604020202020204" pitchFamily="34" charset="0"/>
              <a:buChar char="•"/>
              <a:defRPr sz="1200"/>
            </a:lvl2pPr>
            <a:lvl3pPr marL="361950" indent="-184150">
              <a:lnSpc>
                <a:spcPct val="100000"/>
              </a:lnSpc>
              <a:spcBef>
                <a:spcPts val="0"/>
              </a:spcBef>
              <a:buSzPct val="100000"/>
              <a:buFont typeface="Arial" panose="020B0604020202020204" pitchFamily="34" charset="0"/>
              <a:buChar char="‒"/>
              <a:defRPr sz="1200"/>
            </a:lvl3pPr>
            <a:lvl4pPr marL="266700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Char char=""/>
              <a:defRPr lang="de-CH" sz="12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450850" indent="-1841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200"/>
            </a:lvl5pPr>
            <a:lvl6pPr marL="627063" indent="-176213">
              <a:spcBef>
                <a:spcPts val="0"/>
              </a:spcBef>
              <a:buFont typeface="Arial" panose="020B0604020202020204" pitchFamily="34" charset="0"/>
              <a:buChar char="‒"/>
              <a:defRPr sz="1200"/>
            </a:lvl6pPr>
          </a:lstStyle>
          <a:p>
            <a:pPr lvl="0"/>
            <a:r>
              <a:rPr lang="de-CH" noProof="0" dirty="0"/>
              <a:t>Textmasterformat bearbeiten</a:t>
            </a:r>
          </a:p>
          <a:p>
            <a:pPr lvl="1"/>
            <a:r>
              <a:rPr lang="de-CH" noProof="0" dirty="0"/>
              <a:t>Zweite Ebene</a:t>
            </a:r>
          </a:p>
          <a:p>
            <a:pPr lvl="2"/>
            <a:r>
              <a:rPr lang="de-CH" noProof="0" dirty="0"/>
              <a:t>Dritte Ebene</a:t>
            </a:r>
          </a:p>
          <a:p>
            <a:pPr lvl="3"/>
            <a:r>
              <a:rPr lang="de-CH" noProof="0" dirty="0"/>
              <a:t>Vierte Ebene</a:t>
            </a:r>
          </a:p>
          <a:p>
            <a:pPr lvl="4"/>
            <a:r>
              <a:rPr lang="de-CH" noProof="0" dirty="0"/>
              <a:t>Fünfte Ebene</a:t>
            </a:r>
          </a:p>
          <a:p>
            <a:pPr lvl="5"/>
            <a:r>
              <a:rPr lang="de-CH" noProof="0" dirty="0"/>
              <a:t>Sechste Ebene</a:t>
            </a:r>
          </a:p>
        </p:txBody>
      </p:sp>
      <p:sp>
        <p:nvSpPr>
          <p:cNvPr id="14" name="Line 8"/>
          <p:cNvSpPr>
            <a:spLocks noChangeShapeType="1"/>
          </p:cNvSpPr>
          <p:nvPr userDrawn="1"/>
        </p:nvSpPr>
        <p:spPr bwMode="gray">
          <a:xfrm flipV="1">
            <a:off x="5220150" y="1980000"/>
            <a:ext cx="3600000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4177779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7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6213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opkaderarbeitskreis vom 11./12.01.2019</a:t>
            </a:r>
            <a:endParaRPr lang="de-CH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593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7078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5509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LogoSBB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1486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350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6849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8925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87111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1114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0402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93692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4915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699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2537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0988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052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1750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223855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00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1162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5498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5405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1726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2854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1237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148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6623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3423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5872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1374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2946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Topkaderarbeitskreis vom 11./12.01.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2099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95288" y="1268414"/>
            <a:ext cx="8424862" cy="3603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404813"/>
            <a:ext cx="8424862" cy="720725"/>
          </a:xfrm>
          <a:noFill/>
        </p:spPr>
        <p:txBody>
          <a:bodyPr/>
          <a:lstStyle>
            <a:lvl1pPr>
              <a:defRPr sz="24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>
            <a:off x="395288" y="1628776"/>
            <a:ext cx="84248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4981793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4057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0453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91262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6593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66545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863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10114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1506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2552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79371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23755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3603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87246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0840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183512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7072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14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27657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0007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Topkaderarbeitskreis vom 11./12.01.2019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3780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95288" y="1268414"/>
            <a:ext cx="8424862" cy="36036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00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CH" b="1" dirty="0">
                <a:latin typeface="Arial"/>
                <a:cs typeface="Arial" charset="0"/>
              </a:defRPr>
            </a:lvl1pPr>
          </a:lstStyle>
          <a:p>
            <a:pPr marL="0" lvl="0"/>
            <a:r>
              <a:rPr lang="de-CH" dirty="0"/>
              <a:t>Untertit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5288" y="404813"/>
            <a:ext cx="8424862" cy="720725"/>
          </a:xfrm>
          <a:noFill/>
        </p:spPr>
        <p:txBody>
          <a:bodyPr/>
          <a:lstStyle>
            <a:lvl1pPr>
              <a:defRPr sz="2400"/>
            </a:lvl1pPr>
          </a:lstStyle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9" name="Line 8"/>
          <p:cNvSpPr>
            <a:spLocks noChangeShapeType="1"/>
          </p:cNvSpPr>
          <p:nvPr userDrawn="1"/>
        </p:nvSpPr>
        <p:spPr bwMode="gray">
          <a:xfrm>
            <a:off x="395288" y="1628776"/>
            <a:ext cx="8424862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18000" rIns="18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475435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ld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5" name="LogoSBB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76007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55649" y="4949383"/>
            <a:ext cx="8064501" cy="923330"/>
          </a:xfrm>
        </p:spPr>
        <p:txBody>
          <a:bodyPr bIns="0" anchor="t" anchorCtr="0">
            <a:noAutofit/>
          </a:bodyPr>
          <a:lstStyle>
            <a:lvl1pPr>
              <a:lnSpc>
                <a:spcPct val="100000"/>
              </a:lnSpc>
              <a:defRPr sz="3000" baseline="0">
                <a:solidFill>
                  <a:srgbClr val="000000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  <a:endParaRPr lang="de-CH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5650" y="6048753"/>
            <a:ext cx="8065266" cy="246221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7" name="Slide Number Placeholder 6" hidden="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764851"/>
      </p:ext>
    </p:extLst>
  </p:cSld>
  <p:clrMapOvr>
    <a:masterClrMapping/>
  </p:clrMapOvr>
  <p:hf sldNum="0"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315484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mit Bild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5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434040"/>
            <a:ext cx="3181671" cy="1601960"/>
          </a:xfrm>
        </p:spPr>
        <p:txBody>
          <a:bodyPr bIns="0">
            <a:noAutofit/>
          </a:bodyPr>
          <a:lstStyle>
            <a:lvl1pPr>
              <a:lnSpc>
                <a:spcPct val="100000"/>
              </a:lnSpc>
              <a:defRPr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ies ist der Titel der Präsentation.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23528" y="3333516"/>
            <a:ext cx="3181672" cy="701028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 dirty="0"/>
              <a:t>Name Vortragender, Ort, Datum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5564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Agenda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>
            <a:lvl1pPr marL="288000" indent="-288000">
              <a:buClr>
                <a:schemeClr val="accent6"/>
              </a:buClr>
              <a:buSzPct val="100000"/>
              <a:buFont typeface="+mj-lt"/>
              <a:buAutoNum type="arabicPeriod"/>
              <a:defRPr/>
            </a:lvl1pPr>
            <a:lvl2pPr marL="432000" indent="-144000">
              <a:spcBef>
                <a:spcPts val="0"/>
              </a:spcBef>
              <a:buClr>
                <a:srgbClr val="000000"/>
              </a:buClr>
              <a:defRPr/>
            </a:lvl2pPr>
            <a:lvl3pPr marL="612000" indent="-144000">
              <a:spcBef>
                <a:spcPts val="0"/>
              </a:spcBef>
              <a:buClr>
                <a:schemeClr val="tx1"/>
              </a:buClr>
              <a:buFont typeface="Symbol" pitchFamily="18" charset="2"/>
              <a:buChar char="-"/>
              <a:defRPr/>
            </a:lvl3pPr>
            <a:lvl4pPr marL="648000" indent="0">
              <a:spcBef>
                <a:spcPts val="0"/>
              </a:spcBef>
              <a:buFontTx/>
              <a:buNone/>
              <a:defRPr/>
            </a:lvl4pPr>
            <a:lvl5pPr marL="828000" indent="0">
              <a:spcBef>
                <a:spcPts val="0"/>
              </a:spcBef>
              <a:buFontTx/>
              <a:buNone/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32137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26557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dirty="0"/>
              <a:t>Die zweispaltige Textfolie.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5999"/>
            <a:ext cx="396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860032" y="1655999"/>
            <a:ext cx="396011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10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6710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86362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de-CH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1656000"/>
            <a:ext cx="80645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pic>
        <p:nvPicPr>
          <p:cNvPr id="7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5698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 dirty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50" y="1656000"/>
            <a:ext cx="8064500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55650" y="2451600"/>
            <a:ext cx="8064500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71996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0673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56000"/>
            <a:ext cx="3240038" cy="4860000"/>
          </a:xfrm>
        </p:spPr>
        <p:txBody>
          <a:bodyPr anchor="ctr" anchorCtr="1"/>
          <a:lstStyle>
            <a:lvl1pPr marL="0" indent="0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3347864" y="1655999"/>
            <a:ext cx="5472608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78857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78139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4805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4905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00058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6" name="LogoSBB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34344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 mit Bild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8" name="LogoSBB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54" y="324000"/>
            <a:ext cx="2071318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707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noProof="0" dirty="0"/>
              <a:t>Die Textfolie mit Bild.</a:t>
            </a:r>
            <a:br>
              <a:rPr lang="de-CH" noProof="0" dirty="0"/>
            </a:br>
            <a:r>
              <a:rPr lang="de-CH" noProof="0" dirty="0"/>
              <a:t>Titel bitte maximal zweizeilig.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Topkaderarbeitskreis vom 11./12.01.2019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55648" y="1655999"/>
            <a:ext cx="5040000" cy="4867200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5903962" y="1656000"/>
            <a:ext cx="3240038" cy="4860000"/>
          </a:xfrm>
        </p:spPr>
        <p:txBody>
          <a:bodyPr anchor="ctr" anchorCtr="1"/>
          <a:lstStyle>
            <a:lvl1pPr marL="0" indent="0" algn="l">
              <a:buFontTx/>
              <a:buNone/>
              <a:defRPr/>
            </a:lvl1pPr>
          </a:lstStyle>
          <a:p>
            <a:r>
              <a:rPr lang="de-CH" dirty="0"/>
              <a:t>Klicken Sie hier, um ein Bild einzufügen.</a:t>
            </a:r>
            <a:endParaRPr lang="de-CH" noProof="0" dirty="0"/>
          </a:p>
        </p:txBody>
      </p:sp>
      <p:pic>
        <p:nvPicPr>
          <p:cNvPr id="9" name="LogoSBB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417"/>
          <a:stretch/>
        </p:blipFill>
        <p:spPr>
          <a:xfrm>
            <a:off x="8143936" y="321770"/>
            <a:ext cx="674903" cy="25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87655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"/>
          <p:cNvSpPr/>
          <p:nvPr userDrawn="1"/>
        </p:nvSpPr>
        <p:spPr>
          <a:xfrm>
            <a:off x="0" y="876300"/>
            <a:ext cx="7945903" cy="5991079"/>
          </a:xfrm>
          <a:custGeom>
            <a:avLst/>
            <a:gdLst>
              <a:gd name="connsiteX0" fmla="*/ 7932420 w 7932420"/>
              <a:gd name="connsiteY0" fmla="*/ 1325880 h 5646420"/>
              <a:gd name="connsiteX1" fmla="*/ 0 w 7932420"/>
              <a:gd name="connsiteY1" fmla="*/ 0 h 5646420"/>
              <a:gd name="connsiteX2" fmla="*/ 0 w 7932420"/>
              <a:gd name="connsiteY2" fmla="*/ 5646420 h 5646420"/>
              <a:gd name="connsiteX3" fmla="*/ 7924800 w 7932420"/>
              <a:gd name="connsiteY3" fmla="*/ 5646420 h 5646420"/>
              <a:gd name="connsiteX4" fmla="*/ 7932420 w 7932420"/>
              <a:gd name="connsiteY4" fmla="*/ 1325880 h 5646420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24800 w 7932420"/>
              <a:gd name="connsiteY3" fmla="*/ 5646420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84044 h 5991079"/>
              <a:gd name="connsiteX4" fmla="*/ 7932420 w 7932420"/>
              <a:gd name="connsiteY4" fmla="*/ 1325880 h 5991079"/>
              <a:gd name="connsiteX0" fmla="*/ 7932420 w 7932420"/>
              <a:gd name="connsiteY0" fmla="*/ 1325880 h 5991079"/>
              <a:gd name="connsiteX1" fmla="*/ 0 w 7932420"/>
              <a:gd name="connsiteY1" fmla="*/ 0 h 5991079"/>
              <a:gd name="connsiteX2" fmla="*/ 0 w 7932420"/>
              <a:gd name="connsiteY2" fmla="*/ 5991079 h 5991079"/>
              <a:gd name="connsiteX3" fmla="*/ 7931834 w 7932420"/>
              <a:gd name="connsiteY3" fmla="*/ 5991078 h 5991079"/>
              <a:gd name="connsiteX4" fmla="*/ 7932420 w 7932420"/>
              <a:gd name="connsiteY4" fmla="*/ 1325880 h 5991079"/>
              <a:gd name="connsiteX0" fmla="*/ 7932420 w 7945903"/>
              <a:gd name="connsiteY0" fmla="*/ 1325880 h 5991079"/>
              <a:gd name="connsiteX1" fmla="*/ 0 w 7945903"/>
              <a:gd name="connsiteY1" fmla="*/ 0 h 5991079"/>
              <a:gd name="connsiteX2" fmla="*/ 0 w 7945903"/>
              <a:gd name="connsiteY2" fmla="*/ 5991079 h 5991079"/>
              <a:gd name="connsiteX3" fmla="*/ 7945901 w 7945903"/>
              <a:gd name="connsiteY3" fmla="*/ 5991078 h 5991079"/>
              <a:gd name="connsiteX4" fmla="*/ 7932420 w 7945903"/>
              <a:gd name="connsiteY4" fmla="*/ 1325880 h 5991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45903" h="5991079">
                <a:moveTo>
                  <a:pt x="7932420" y="1325880"/>
                </a:moveTo>
                <a:lnTo>
                  <a:pt x="0" y="0"/>
                </a:lnTo>
                <a:lnTo>
                  <a:pt x="0" y="5991079"/>
                </a:lnTo>
                <a:lnTo>
                  <a:pt x="7945901" y="5991078"/>
                </a:lnTo>
                <a:cubicBezTo>
                  <a:pt x="7946096" y="4438357"/>
                  <a:pt x="7932225" y="2878601"/>
                  <a:pt x="7932420" y="1325880"/>
                </a:cubicBezTo>
                <a:close/>
              </a:path>
            </a:pathLst>
          </a:custGeom>
          <a:solidFill>
            <a:srgbClr val="E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noAutofit/>
          </a:bodyPr>
          <a:lstStyle/>
          <a:p>
            <a:pPr algn="ctr"/>
            <a:endParaRPr lang="en-GB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611188" y="2343149"/>
            <a:ext cx="6913140" cy="3894163"/>
          </a:xfrm>
        </p:spPr>
        <p:txBody>
          <a:bodyPr bIns="0" anchor="t" anchorCtr="0">
            <a:noAutofit/>
          </a:bodyPr>
          <a:lstStyle>
            <a:lvl1pPr algn="l">
              <a:lnSpc>
                <a:spcPts val="43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Der Kapiteltext hat maximal 7 Zeilen.</a:t>
            </a:r>
          </a:p>
        </p:txBody>
      </p:sp>
    </p:spTree>
    <p:extLst>
      <p:ext uri="{BB962C8B-B14F-4D97-AF65-F5344CB8AC3E}">
        <p14:creationId xmlns:p14="http://schemas.microsoft.com/office/powerpoint/2010/main" val="41426585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</p:spTree>
    <p:extLst>
      <p:ext uri="{BB962C8B-B14F-4D97-AF65-F5344CB8AC3E}">
        <p14:creationId xmlns:p14="http://schemas.microsoft.com/office/powerpoint/2010/main" val="349853891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6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8" name="LogoCar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9" name="LogoSBB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50" y="382074"/>
            <a:ext cx="2016663" cy="21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8809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216342300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/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9" name="Freeform 1"/>
          <p:cNvSpPr>
            <a:spLocks/>
          </p:cNvSpPr>
          <p:nvPr userDrawn="1"/>
        </p:nvSpPr>
        <p:spPr>
          <a:xfrm>
            <a:off x="-14630" y="819302"/>
            <a:ext cx="3950208" cy="6049671"/>
          </a:xfrm>
          <a:custGeom>
            <a:avLst/>
            <a:gdLst>
              <a:gd name="connsiteX0" fmla="*/ 3950208 w 3950208"/>
              <a:gd name="connsiteY0" fmla="*/ 716890 h 6049671"/>
              <a:gd name="connsiteX1" fmla="*/ 3950208 w 3950208"/>
              <a:gd name="connsiteY1" fmla="*/ 5691226 h 6049671"/>
              <a:gd name="connsiteX2" fmla="*/ 1953158 w 3950208"/>
              <a:gd name="connsiteY2" fmla="*/ 6049671 h 6049671"/>
              <a:gd name="connsiteX3" fmla="*/ 0 w 3950208"/>
              <a:gd name="connsiteY3" fmla="*/ 6049671 h 6049671"/>
              <a:gd name="connsiteX4" fmla="*/ 0 w 3950208"/>
              <a:gd name="connsiteY4" fmla="*/ 0 h 6049671"/>
              <a:gd name="connsiteX5" fmla="*/ 3950208 w 3950208"/>
              <a:gd name="connsiteY5" fmla="*/ 716890 h 6049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0208" h="6049671">
                <a:moveTo>
                  <a:pt x="3950208" y="716890"/>
                </a:moveTo>
                <a:lnTo>
                  <a:pt x="3950208" y="5691226"/>
                </a:lnTo>
                <a:lnTo>
                  <a:pt x="1953158" y="6049671"/>
                </a:lnTo>
                <a:lnTo>
                  <a:pt x="0" y="6049671"/>
                </a:lnTo>
                <a:lnTo>
                  <a:pt x="0" y="0"/>
                </a:lnTo>
                <a:lnTo>
                  <a:pt x="3950208" y="716890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28" y="1556793"/>
            <a:ext cx="3410272" cy="4752528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mehrere Zeilen möglich.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7" name="LogoSBB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50" y="382074"/>
            <a:ext cx="2016663" cy="21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8472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foli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</p:spTree>
    <p:extLst>
      <p:ext uri="{BB962C8B-B14F-4D97-AF65-F5344CB8AC3E}">
        <p14:creationId xmlns:p14="http://schemas.microsoft.com/office/powerpoint/2010/main" val="424170167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2400" b="1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Fügen Sie hier Ihren Text ein. Es sind auch zwei Zeilen möglich.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50" y="382074"/>
            <a:ext cx="2016663" cy="21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35083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</p:spTree>
    <p:extLst>
      <p:ext uri="{BB962C8B-B14F-4D97-AF65-F5344CB8AC3E}">
        <p14:creationId xmlns:p14="http://schemas.microsoft.com/office/powerpoint/2010/main" val="343896660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 Logo wei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2"/>
          <p:cNvSpPr>
            <a:spLocks/>
          </p:cNvSpPr>
          <p:nvPr userDrawn="1"/>
        </p:nvSpPr>
        <p:spPr>
          <a:xfrm>
            <a:off x="0" y="4986245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3" name="Freeform 1"/>
          <p:cNvSpPr/>
          <p:nvPr userDrawn="1"/>
        </p:nvSpPr>
        <p:spPr>
          <a:xfrm>
            <a:off x="0" y="4993333"/>
            <a:ext cx="6323428" cy="1871003"/>
          </a:xfrm>
          <a:custGeom>
            <a:avLst/>
            <a:gdLst>
              <a:gd name="connsiteX0" fmla="*/ 6323428 w 6323428"/>
              <a:gd name="connsiteY0" fmla="*/ 661182 h 1871003"/>
              <a:gd name="connsiteX1" fmla="*/ 6323428 w 6323428"/>
              <a:gd name="connsiteY1" fmla="*/ 1871003 h 1871003"/>
              <a:gd name="connsiteX2" fmla="*/ 0 w 6323428"/>
              <a:gd name="connsiteY2" fmla="*/ 1871003 h 1871003"/>
              <a:gd name="connsiteX3" fmla="*/ 0 w 6323428"/>
              <a:gd name="connsiteY3" fmla="*/ 0 h 1871003"/>
              <a:gd name="connsiteX4" fmla="*/ 6323428 w 6323428"/>
              <a:gd name="connsiteY4" fmla="*/ 661182 h 1871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23428" h="1871003">
                <a:moveTo>
                  <a:pt x="6323428" y="661182"/>
                </a:moveTo>
                <a:lnTo>
                  <a:pt x="6323428" y="1871003"/>
                </a:lnTo>
                <a:lnTo>
                  <a:pt x="0" y="1871003"/>
                </a:lnTo>
                <a:lnTo>
                  <a:pt x="0" y="0"/>
                </a:lnTo>
                <a:lnTo>
                  <a:pt x="6323428" y="661182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CH" sz="2400" b="1" dirty="0">
              <a:solidFill>
                <a:prstClr val="white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323530" y="5798843"/>
            <a:ext cx="5620071" cy="798509"/>
          </a:xfrm>
        </p:spPr>
        <p:txBody>
          <a:bodyPr bIns="0" anchor="t" anchorCtr="0">
            <a:noAutofit/>
          </a:bodyPr>
          <a:lstStyle>
            <a:lvl1pPr algn="l">
              <a:lnSpc>
                <a:spcPts val="3100"/>
              </a:lnSpc>
              <a:defRPr sz="3200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 dirty="0"/>
              <a:t>Besten Dank.</a:t>
            </a:r>
          </a:p>
        </p:txBody>
      </p:sp>
      <p:pic>
        <p:nvPicPr>
          <p:cNvPr id="5" name="LogoInternational" hidden="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9" y="382869"/>
            <a:ext cx="3023992" cy="220972"/>
          </a:xfrm>
          <a:prstGeom prst="rect">
            <a:avLst/>
          </a:prstGeom>
        </p:spPr>
      </p:pic>
      <p:pic>
        <p:nvPicPr>
          <p:cNvPr id="6" name="LogoCargo" hidden="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82804"/>
            <a:ext cx="2616871" cy="221101"/>
          </a:xfrm>
          <a:prstGeom prst="rect">
            <a:avLst/>
          </a:prstGeom>
        </p:spPr>
      </p:pic>
      <p:pic>
        <p:nvPicPr>
          <p:cNvPr id="8" name="LogoSBB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50" y="382074"/>
            <a:ext cx="2016663" cy="212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7425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nhaltsfolie 1 Logo wei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>
            <a:spLocks/>
          </p:cNvSpPr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7" name="Freeform 1"/>
          <p:cNvSpPr/>
          <p:nvPr userDrawn="1"/>
        </p:nvSpPr>
        <p:spPr>
          <a:xfrm>
            <a:off x="-14400" y="838201"/>
            <a:ext cx="3981450" cy="4146550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16000" tIns="108000" rIns="432000" bIns="144000" rtlCol="0" anchor="t" anchorCtr="0">
            <a:spAutoFit/>
          </a:bodyPr>
          <a:lstStyle/>
          <a:p>
            <a:pPr algn="ctr"/>
            <a:endParaRPr lang="de-DE" sz="2400" b="1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23529" y="1700808"/>
            <a:ext cx="3410271" cy="2448272"/>
          </a:xfrm>
        </p:spPr>
        <p:txBody>
          <a:bodyPr bIns="0" anchor="t" anchorCtr="0">
            <a:noAutofit/>
          </a:bodyPr>
          <a:lstStyle>
            <a:lvl1pPr marL="0" marR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 sz="2400" b="1" baseline="0">
                <a:solidFill>
                  <a:srgbClr val="FFFFFF"/>
                </a:solidFill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ts val="31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de-CH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Fügen Sie hier Ihren Text ein.</a:t>
            </a:r>
          </a:p>
        </p:txBody>
      </p:sp>
      <p:pic>
        <p:nvPicPr>
          <p:cNvPr id="10" name="LogoInternational" hidden="1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6"/>
            <a:ext cx="3021822" cy="245237"/>
          </a:xfrm>
          <a:prstGeom prst="rect">
            <a:avLst/>
          </a:prstGeom>
        </p:spPr>
      </p:pic>
      <p:pic>
        <p:nvPicPr>
          <p:cNvPr id="11" name="LogoCargo" hidden="1"/>
          <p:cNvPicPr>
            <a:picLocks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6"/>
            <a:ext cx="2614479" cy="245237"/>
          </a:xfrm>
          <a:prstGeom prst="rect">
            <a:avLst/>
          </a:prstGeom>
        </p:spPr>
      </p:pic>
      <p:pic>
        <p:nvPicPr>
          <p:cNvPr id="12" name="LogoSBB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0955"/>
            <a:ext cx="2015934" cy="232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49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tags" Target="../tags/tag5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7.xml"/><Relationship Id="rId19" Type="http://schemas.openxmlformats.org/officeDocument/2006/relationships/vmlDrawing" Target="../drawings/vmlDrawing4.v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7.xml"/><Relationship Id="rId21" Type="http://schemas.openxmlformats.org/officeDocument/2006/relationships/vmlDrawing" Target="../drawings/vmlDrawing6.v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oleObject" Target="../embeddings/oleObject6.bin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56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oleObject" Target="../embeddings/oleObject10.bin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vmlDrawing" Target="../drawings/vmlDrawing10.vml"/><Relationship Id="rId27" Type="http://schemas.openxmlformats.org/officeDocument/2006/relationships/image" Target="../media/image3.pn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slideLayout" Target="../slideLayouts/slideLayout99.xml"/><Relationship Id="rId39" Type="http://schemas.openxmlformats.org/officeDocument/2006/relationships/slideLayout" Target="../slideLayouts/slideLayout112.xml"/><Relationship Id="rId21" Type="http://schemas.openxmlformats.org/officeDocument/2006/relationships/slideLayout" Target="../slideLayouts/slideLayout94.xml"/><Relationship Id="rId34" Type="http://schemas.openxmlformats.org/officeDocument/2006/relationships/slideLayout" Target="../slideLayouts/slideLayout107.xml"/><Relationship Id="rId42" Type="http://schemas.openxmlformats.org/officeDocument/2006/relationships/slideLayout" Target="../slideLayouts/slideLayout115.xml"/><Relationship Id="rId47" Type="http://schemas.openxmlformats.org/officeDocument/2006/relationships/slideLayout" Target="../slideLayouts/slideLayout120.xml"/><Relationship Id="rId50" Type="http://schemas.openxmlformats.org/officeDocument/2006/relationships/slideLayout" Target="../slideLayouts/slideLayout123.xml"/><Relationship Id="rId55" Type="http://schemas.openxmlformats.org/officeDocument/2006/relationships/slideLayout" Target="../slideLayouts/slideLayout128.xml"/><Relationship Id="rId63" Type="http://schemas.openxmlformats.org/officeDocument/2006/relationships/slideLayout" Target="../slideLayouts/slideLayout136.xml"/><Relationship Id="rId68" Type="http://schemas.openxmlformats.org/officeDocument/2006/relationships/slideLayout" Target="../slideLayouts/slideLayout141.xml"/><Relationship Id="rId76" Type="http://schemas.openxmlformats.org/officeDocument/2006/relationships/slideLayout" Target="../slideLayouts/slideLayout149.xml"/><Relationship Id="rId84" Type="http://schemas.openxmlformats.org/officeDocument/2006/relationships/slideLayout" Target="../slideLayouts/slideLayout157.xml"/><Relationship Id="rId89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80.xml"/><Relationship Id="rId71" Type="http://schemas.openxmlformats.org/officeDocument/2006/relationships/slideLayout" Target="../slideLayouts/slideLayout144.xml"/><Relationship Id="rId92" Type="http://schemas.openxmlformats.org/officeDocument/2006/relationships/theme" Target="../theme/theme5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slideLayout" Target="../slideLayouts/slideLayout105.xml"/><Relationship Id="rId37" Type="http://schemas.openxmlformats.org/officeDocument/2006/relationships/slideLayout" Target="../slideLayouts/slideLayout110.xml"/><Relationship Id="rId40" Type="http://schemas.openxmlformats.org/officeDocument/2006/relationships/slideLayout" Target="../slideLayouts/slideLayout113.xml"/><Relationship Id="rId45" Type="http://schemas.openxmlformats.org/officeDocument/2006/relationships/slideLayout" Target="../slideLayouts/slideLayout118.xml"/><Relationship Id="rId53" Type="http://schemas.openxmlformats.org/officeDocument/2006/relationships/slideLayout" Target="../slideLayouts/slideLayout126.xml"/><Relationship Id="rId58" Type="http://schemas.openxmlformats.org/officeDocument/2006/relationships/slideLayout" Target="../slideLayouts/slideLayout131.xml"/><Relationship Id="rId66" Type="http://schemas.openxmlformats.org/officeDocument/2006/relationships/slideLayout" Target="../slideLayouts/slideLayout139.xml"/><Relationship Id="rId74" Type="http://schemas.openxmlformats.org/officeDocument/2006/relationships/slideLayout" Target="../slideLayouts/slideLayout147.xml"/><Relationship Id="rId79" Type="http://schemas.openxmlformats.org/officeDocument/2006/relationships/slideLayout" Target="../slideLayouts/slideLayout152.xml"/><Relationship Id="rId87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78.xml"/><Relationship Id="rId61" Type="http://schemas.openxmlformats.org/officeDocument/2006/relationships/slideLayout" Target="../slideLayouts/slideLayout134.xml"/><Relationship Id="rId82" Type="http://schemas.openxmlformats.org/officeDocument/2006/relationships/slideLayout" Target="../slideLayouts/slideLayout155.xml"/><Relationship Id="rId9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slideLayout" Target="../slideLayouts/slideLayout100.xml"/><Relationship Id="rId30" Type="http://schemas.openxmlformats.org/officeDocument/2006/relationships/slideLayout" Target="../slideLayouts/slideLayout103.xml"/><Relationship Id="rId35" Type="http://schemas.openxmlformats.org/officeDocument/2006/relationships/slideLayout" Target="../slideLayouts/slideLayout108.xml"/><Relationship Id="rId43" Type="http://schemas.openxmlformats.org/officeDocument/2006/relationships/slideLayout" Target="../slideLayouts/slideLayout116.xml"/><Relationship Id="rId48" Type="http://schemas.openxmlformats.org/officeDocument/2006/relationships/slideLayout" Target="../slideLayouts/slideLayout121.xml"/><Relationship Id="rId56" Type="http://schemas.openxmlformats.org/officeDocument/2006/relationships/slideLayout" Target="../slideLayouts/slideLayout129.xml"/><Relationship Id="rId64" Type="http://schemas.openxmlformats.org/officeDocument/2006/relationships/slideLayout" Target="../slideLayouts/slideLayout137.xml"/><Relationship Id="rId69" Type="http://schemas.openxmlformats.org/officeDocument/2006/relationships/slideLayout" Target="../slideLayouts/slideLayout142.xml"/><Relationship Id="rId77" Type="http://schemas.openxmlformats.org/officeDocument/2006/relationships/slideLayout" Target="../slideLayouts/slideLayout150.xml"/><Relationship Id="rId8" Type="http://schemas.openxmlformats.org/officeDocument/2006/relationships/slideLayout" Target="../slideLayouts/slideLayout81.xml"/><Relationship Id="rId51" Type="http://schemas.openxmlformats.org/officeDocument/2006/relationships/slideLayout" Target="../slideLayouts/slideLayout124.xml"/><Relationship Id="rId72" Type="http://schemas.openxmlformats.org/officeDocument/2006/relationships/slideLayout" Target="../slideLayouts/slideLayout145.xml"/><Relationship Id="rId80" Type="http://schemas.openxmlformats.org/officeDocument/2006/relationships/slideLayout" Target="../slideLayouts/slideLayout153.xml"/><Relationship Id="rId85" Type="http://schemas.openxmlformats.org/officeDocument/2006/relationships/slideLayout" Target="../slideLayouts/slideLayout158.xml"/><Relationship Id="rId93" Type="http://schemas.openxmlformats.org/officeDocument/2006/relationships/image" Target="../media/image2.png"/><Relationship Id="rId3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slideLayout" Target="../slideLayouts/slideLayout106.xml"/><Relationship Id="rId38" Type="http://schemas.openxmlformats.org/officeDocument/2006/relationships/slideLayout" Target="../slideLayouts/slideLayout111.xml"/><Relationship Id="rId46" Type="http://schemas.openxmlformats.org/officeDocument/2006/relationships/slideLayout" Target="../slideLayouts/slideLayout119.xml"/><Relationship Id="rId59" Type="http://schemas.openxmlformats.org/officeDocument/2006/relationships/slideLayout" Target="../slideLayouts/slideLayout132.xml"/><Relationship Id="rId67" Type="http://schemas.openxmlformats.org/officeDocument/2006/relationships/slideLayout" Target="../slideLayouts/slideLayout140.xml"/><Relationship Id="rId20" Type="http://schemas.openxmlformats.org/officeDocument/2006/relationships/slideLayout" Target="../slideLayouts/slideLayout93.xml"/><Relationship Id="rId41" Type="http://schemas.openxmlformats.org/officeDocument/2006/relationships/slideLayout" Target="../slideLayouts/slideLayout114.xml"/><Relationship Id="rId54" Type="http://schemas.openxmlformats.org/officeDocument/2006/relationships/slideLayout" Target="../slideLayouts/slideLayout127.xml"/><Relationship Id="rId62" Type="http://schemas.openxmlformats.org/officeDocument/2006/relationships/slideLayout" Target="../slideLayouts/slideLayout135.xml"/><Relationship Id="rId70" Type="http://schemas.openxmlformats.org/officeDocument/2006/relationships/slideLayout" Target="../slideLayouts/slideLayout143.xml"/><Relationship Id="rId75" Type="http://schemas.openxmlformats.org/officeDocument/2006/relationships/slideLayout" Target="../slideLayouts/slideLayout148.xml"/><Relationship Id="rId83" Type="http://schemas.openxmlformats.org/officeDocument/2006/relationships/slideLayout" Target="../slideLayouts/slideLayout156.xml"/><Relationship Id="rId88" Type="http://schemas.openxmlformats.org/officeDocument/2006/relationships/slideLayout" Target="../slideLayouts/slideLayout161.xml"/><Relationship Id="rId91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slideLayout" Target="../slideLayouts/slideLayout101.xml"/><Relationship Id="rId36" Type="http://schemas.openxmlformats.org/officeDocument/2006/relationships/slideLayout" Target="../slideLayouts/slideLayout109.xml"/><Relationship Id="rId49" Type="http://schemas.openxmlformats.org/officeDocument/2006/relationships/slideLayout" Target="../slideLayouts/slideLayout122.xml"/><Relationship Id="rId57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104.xml"/><Relationship Id="rId44" Type="http://schemas.openxmlformats.org/officeDocument/2006/relationships/slideLayout" Target="../slideLayouts/slideLayout117.xml"/><Relationship Id="rId52" Type="http://schemas.openxmlformats.org/officeDocument/2006/relationships/slideLayout" Target="../slideLayouts/slideLayout125.xml"/><Relationship Id="rId60" Type="http://schemas.openxmlformats.org/officeDocument/2006/relationships/slideLayout" Target="../slideLayouts/slideLayout133.xml"/><Relationship Id="rId65" Type="http://schemas.openxmlformats.org/officeDocument/2006/relationships/slideLayout" Target="../slideLayouts/slideLayout138.xml"/><Relationship Id="rId73" Type="http://schemas.openxmlformats.org/officeDocument/2006/relationships/slideLayout" Target="../slideLayouts/slideLayout146.xml"/><Relationship Id="rId78" Type="http://schemas.openxmlformats.org/officeDocument/2006/relationships/slideLayout" Target="../slideLayouts/slideLayout151.xml"/><Relationship Id="rId81" Type="http://schemas.openxmlformats.org/officeDocument/2006/relationships/slideLayout" Target="../slideLayouts/slideLayout154.xml"/><Relationship Id="rId86" Type="http://schemas.openxmlformats.org/officeDocument/2006/relationships/slideLayout" Target="../slideLayouts/slideLayout159.xml"/><Relationship Id="rId94" Type="http://schemas.openxmlformats.org/officeDocument/2006/relationships/image" Target="../media/image3.png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slideLayout" Target="../slideLayouts/slideLayout190.xml"/><Relationship Id="rId39" Type="http://schemas.openxmlformats.org/officeDocument/2006/relationships/slideLayout" Target="../slideLayouts/slideLayout203.xml"/><Relationship Id="rId21" Type="http://schemas.openxmlformats.org/officeDocument/2006/relationships/slideLayout" Target="../slideLayouts/slideLayout185.xml"/><Relationship Id="rId34" Type="http://schemas.openxmlformats.org/officeDocument/2006/relationships/slideLayout" Target="../slideLayouts/slideLayout198.xml"/><Relationship Id="rId42" Type="http://schemas.openxmlformats.org/officeDocument/2006/relationships/slideLayout" Target="../slideLayouts/slideLayout206.xml"/><Relationship Id="rId47" Type="http://schemas.openxmlformats.org/officeDocument/2006/relationships/slideLayout" Target="../slideLayouts/slideLayout211.xml"/><Relationship Id="rId50" Type="http://schemas.openxmlformats.org/officeDocument/2006/relationships/slideLayout" Target="../slideLayouts/slideLayout214.xml"/><Relationship Id="rId55" Type="http://schemas.openxmlformats.org/officeDocument/2006/relationships/slideLayout" Target="../slideLayouts/slideLayout219.xml"/><Relationship Id="rId63" Type="http://schemas.openxmlformats.org/officeDocument/2006/relationships/slideLayout" Target="../slideLayouts/slideLayout227.xml"/><Relationship Id="rId68" Type="http://schemas.openxmlformats.org/officeDocument/2006/relationships/slideLayout" Target="../slideLayouts/slideLayout232.xml"/><Relationship Id="rId76" Type="http://schemas.openxmlformats.org/officeDocument/2006/relationships/image" Target="../media/image3.png"/><Relationship Id="rId7" Type="http://schemas.openxmlformats.org/officeDocument/2006/relationships/slideLayout" Target="../slideLayouts/slideLayout171.xml"/><Relationship Id="rId71" Type="http://schemas.openxmlformats.org/officeDocument/2006/relationships/vmlDrawing" Target="../drawings/vmlDrawing14.v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9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32" Type="http://schemas.openxmlformats.org/officeDocument/2006/relationships/slideLayout" Target="../slideLayouts/slideLayout196.xml"/><Relationship Id="rId37" Type="http://schemas.openxmlformats.org/officeDocument/2006/relationships/slideLayout" Target="../slideLayouts/slideLayout201.xml"/><Relationship Id="rId40" Type="http://schemas.openxmlformats.org/officeDocument/2006/relationships/slideLayout" Target="../slideLayouts/slideLayout204.xml"/><Relationship Id="rId45" Type="http://schemas.openxmlformats.org/officeDocument/2006/relationships/slideLayout" Target="../slideLayouts/slideLayout209.xml"/><Relationship Id="rId53" Type="http://schemas.openxmlformats.org/officeDocument/2006/relationships/slideLayout" Target="../slideLayouts/slideLayout217.xml"/><Relationship Id="rId58" Type="http://schemas.openxmlformats.org/officeDocument/2006/relationships/slideLayout" Target="../slideLayouts/slideLayout222.xml"/><Relationship Id="rId66" Type="http://schemas.openxmlformats.org/officeDocument/2006/relationships/slideLayout" Target="../slideLayouts/slideLayout230.xml"/><Relationship Id="rId74" Type="http://schemas.openxmlformats.org/officeDocument/2006/relationships/image" Target="../media/image25.emf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36" Type="http://schemas.openxmlformats.org/officeDocument/2006/relationships/slideLayout" Target="../slideLayouts/slideLayout200.xml"/><Relationship Id="rId49" Type="http://schemas.openxmlformats.org/officeDocument/2006/relationships/slideLayout" Target="../slideLayouts/slideLayout213.xml"/><Relationship Id="rId57" Type="http://schemas.openxmlformats.org/officeDocument/2006/relationships/slideLayout" Target="../slideLayouts/slideLayout221.xml"/><Relationship Id="rId61" Type="http://schemas.openxmlformats.org/officeDocument/2006/relationships/slideLayout" Target="../slideLayouts/slideLayout225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31" Type="http://schemas.openxmlformats.org/officeDocument/2006/relationships/slideLayout" Target="../slideLayouts/slideLayout195.xml"/><Relationship Id="rId44" Type="http://schemas.openxmlformats.org/officeDocument/2006/relationships/slideLayout" Target="../slideLayouts/slideLayout208.xml"/><Relationship Id="rId52" Type="http://schemas.openxmlformats.org/officeDocument/2006/relationships/slideLayout" Target="../slideLayouts/slideLayout216.xml"/><Relationship Id="rId60" Type="http://schemas.openxmlformats.org/officeDocument/2006/relationships/slideLayout" Target="../slideLayouts/slideLayout224.xml"/><Relationship Id="rId65" Type="http://schemas.openxmlformats.org/officeDocument/2006/relationships/slideLayout" Target="../slideLayouts/slideLayout229.xml"/><Relationship Id="rId73" Type="http://schemas.openxmlformats.org/officeDocument/2006/relationships/oleObject" Target="../embeddings/oleObject14.bin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30" Type="http://schemas.openxmlformats.org/officeDocument/2006/relationships/slideLayout" Target="../slideLayouts/slideLayout194.xml"/><Relationship Id="rId35" Type="http://schemas.openxmlformats.org/officeDocument/2006/relationships/slideLayout" Target="../slideLayouts/slideLayout199.xml"/><Relationship Id="rId43" Type="http://schemas.openxmlformats.org/officeDocument/2006/relationships/slideLayout" Target="../slideLayouts/slideLayout207.xml"/><Relationship Id="rId48" Type="http://schemas.openxmlformats.org/officeDocument/2006/relationships/slideLayout" Target="../slideLayouts/slideLayout212.xml"/><Relationship Id="rId56" Type="http://schemas.openxmlformats.org/officeDocument/2006/relationships/slideLayout" Target="../slideLayouts/slideLayout220.xml"/><Relationship Id="rId64" Type="http://schemas.openxmlformats.org/officeDocument/2006/relationships/slideLayout" Target="../slideLayouts/slideLayout228.xml"/><Relationship Id="rId69" Type="http://schemas.openxmlformats.org/officeDocument/2006/relationships/slideLayout" Target="../slideLayouts/slideLayout233.xml"/><Relationship Id="rId8" Type="http://schemas.openxmlformats.org/officeDocument/2006/relationships/slideLayout" Target="../slideLayouts/slideLayout172.xml"/><Relationship Id="rId51" Type="http://schemas.openxmlformats.org/officeDocument/2006/relationships/slideLayout" Target="../slideLayouts/slideLayout215.xml"/><Relationship Id="rId72" Type="http://schemas.openxmlformats.org/officeDocument/2006/relationships/tags" Target="../tags/tag15.xml"/><Relationship Id="rId3" Type="http://schemas.openxmlformats.org/officeDocument/2006/relationships/slideLayout" Target="../slideLayouts/slideLayout167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33" Type="http://schemas.openxmlformats.org/officeDocument/2006/relationships/slideLayout" Target="../slideLayouts/slideLayout197.xml"/><Relationship Id="rId38" Type="http://schemas.openxmlformats.org/officeDocument/2006/relationships/slideLayout" Target="../slideLayouts/slideLayout202.xml"/><Relationship Id="rId46" Type="http://schemas.openxmlformats.org/officeDocument/2006/relationships/slideLayout" Target="../slideLayouts/slideLayout210.xml"/><Relationship Id="rId59" Type="http://schemas.openxmlformats.org/officeDocument/2006/relationships/slideLayout" Target="../slideLayouts/slideLayout223.xml"/><Relationship Id="rId67" Type="http://schemas.openxmlformats.org/officeDocument/2006/relationships/slideLayout" Target="../slideLayouts/slideLayout231.xml"/><Relationship Id="rId20" Type="http://schemas.openxmlformats.org/officeDocument/2006/relationships/slideLayout" Target="../slideLayouts/slideLayout184.xml"/><Relationship Id="rId41" Type="http://schemas.openxmlformats.org/officeDocument/2006/relationships/slideLayout" Target="../slideLayouts/slideLayout205.xml"/><Relationship Id="rId54" Type="http://schemas.openxmlformats.org/officeDocument/2006/relationships/slideLayout" Target="../slideLayouts/slideLayout218.xml"/><Relationship Id="rId62" Type="http://schemas.openxmlformats.org/officeDocument/2006/relationships/slideLayout" Target="../slideLayouts/slideLayout226.xml"/><Relationship Id="rId70" Type="http://schemas.openxmlformats.org/officeDocument/2006/relationships/theme" Target="../theme/theme6.xml"/><Relationship Id="rId75" Type="http://schemas.openxmlformats.org/officeDocument/2006/relationships/image" Target="../media/image2.png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94610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616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8" r:id="rId3"/>
    <p:sldLayoutId id="2147483695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19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Folie" r:id="rId21" imgW="270" imgH="270" progId="TCLayout.ActiveDocument.1">
                  <p:embed/>
                </p:oleObj>
              </mc:Choice>
              <mc:Fallback>
                <p:oleObj name="think-cell Folie" r:id="rId21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008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7" r:id="rId1"/>
    <p:sldLayoutId id="2147484108" r:id="rId2"/>
    <p:sldLayoutId id="2147484109" r:id="rId3"/>
    <p:sldLayoutId id="2147484110" r:id="rId4"/>
    <p:sldLayoutId id="2147484111" r:id="rId5"/>
    <p:sldLayoutId id="2147484112" r:id="rId6"/>
    <p:sldLayoutId id="2147484113" r:id="rId7"/>
    <p:sldLayoutId id="2147484114" r:id="rId8"/>
    <p:sldLayoutId id="2147484115" r:id="rId9"/>
    <p:sldLayoutId id="2147484116" r:id="rId10"/>
    <p:sldLayoutId id="2147484117" r:id="rId11"/>
    <p:sldLayoutId id="2147484118" r:id="rId12"/>
    <p:sldLayoutId id="2147484119" r:id="rId13"/>
    <p:sldLayoutId id="2147484120" r:id="rId14"/>
    <p:sldLayoutId id="2147484121" r:id="rId15"/>
    <p:sldLayoutId id="2147484122" r:id="rId16"/>
    <p:sldLayoutId id="2147484123" r:id="rId1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Folie" r:id="rId23" imgW="270" imgH="270" progId="TCLayout.ActiveDocument.1">
                  <p:embed/>
                </p:oleObj>
              </mc:Choice>
              <mc:Fallback>
                <p:oleObj name="think-cell Folie" r:id="rId2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430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5" r:id="rId1"/>
    <p:sldLayoutId id="2147484126" r:id="rId2"/>
    <p:sldLayoutId id="2147484127" r:id="rId3"/>
    <p:sldLayoutId id="2147484128" r:id="rId4"/>
    <p:sldLayoutId id="2147484129" r:id="rId5"/>
    <p:sldLayoutId id="2147484130" r:id="rId6"/>
    <p:sldLayoutId id="2147484131" r:id="rId7"/>
    <p:sldLayoutId id="2147484132" r:id="rId8"/>
    <p:sldLayoutId id="2147484133" r:id="rId9"/>
    <p:sldLayoutId id="2147484134" r:id="rId10"/>
    <p:sldLayoutId id="2147484135" r:id="rId11"/>
    <p:sldLayoutId id="2147484136" r:id="rId12"/>
    <p:sldLayoutId id="2147484137" r:id="rId13"/>
    <p:sldLayoutId id="2147484138" r:id="rId14"/>
    <p:sldLayoutId id="2147484139" r:id="rId15"/>
    <p:sldLayoutId id="2147484140" r:id="rId16"/>
    <p:sldLayoutId id="2147484141" r:id="rId17"/>
    <p:sldLayoutId id="2147484142" r:id="rId18"/>
    <p:sldLayoutId id="2147484143" r:id="rId1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Folie" r:id="rId24" imgW="270" imgH="270" progId="TCLayout.ActiveDocument.1">
                  <p:embed/>
                </p:oleObj>
              </mc:Choice>
              <mc:Fallback>
                <p:oleObj name="think-cell Folie" r:id="rId2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/>
              <a:t>Topkaderarbeitskreis vom 11./12.01.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9813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4199" r:id="rId2"/>
    <p:sldLayoutId id="2147484200" r:id="rId3"/>
    <p:sldLayoutId id="2147484201" r:id="rId4"/>
    <p:sldLayoutId id="2147484202" r:id="rId5"/>
    <p:sldLayoutId id="2147484203" r:id="rId6"/>
    <p:sldLayoutId id="2147484204" r:id="rId7"/>
    <p:sldLayoutId id="2147484205" r:id="rId8"/>
    <p:sldLayoutId id="2147484206" r:id="rId9"/>
    <p:sldLayoutId id="2147484207" r:id="rId10"/>
    <p:sldLayoutId id="2147484208" r:id="rId11"/>
    <p:sldLayoutId id="2147484209" r:id="rId12"/>
    <p:sldLayoutId id="2147484210" r:id="rId13"/>
    <p:sldLayoutId id="2147484211" r:id="rId14"/>
    <p:sldLayoutId id="2147484212" r:id="rId15"/>
    <p:sldLayoutId id="2147484213" r:id="rId16"/>
    <p:sldLayoutId id="2147484214" r:id="rId17"/>
    <p:sldLayoutId id="2147484215" r:id="rId18"/>
    <p:sldLayoutId id="2147484216" r:id="rId19"/>
    <p:sldLayoutId id="2147484217" r:id="rId2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0" y="6618257"/>
            <a:ext cx="3960440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 noProof="0"/>
              <a:t>SBB • Division • Abteilung oder Bereich • DD.MM.Y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noProof="0" smtClean="0"/>
              <a:pPr/>
              <a:t>‹Nr.›</a:t>
            </a:fld>
            <a:endParaRPr lang="de-CH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9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9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026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1" r:id="rId1"/>
    <p:sldLayoutId id="2147484232" r:id="rId2"/>
    <p:sldLayoutId id="2147484233" r:id="rId3"/>
    <p:sldLayoutId id="2147484234" r:id="rId4"/>
    <p:sldLayoutId id="2147484235" r:id="rId5"/>
    <p:sldLayoutId id="2147484236" r:id="rId6"/>
    <p:sldLayoutId id="2147484237" r:id="rId7"/>
    <p:sldLayoutId id="2147484238" r:id="rId8"/>
    <p:sldLayoutId id="2147484239" r:id="rId9"/>
    <p:sldLayoutId id="2147484240" r:id="rId10"/>
    <p:sldLayoutId id="2147484241" r:id="rId11"/>
    <p:sldLayoutId id="2147484242" r:id="rId12"/>
    <p:sldLayoutId id="2147484243" r:id="rId13"/>
    <p:sldLayoutId id="2147484244" r:id="rId14"/>
    <p:sldLayoutId id="2147484245" r:id="rId15"/>
    <p:sldLayoutId id="2147484246" r:id="rId16"/>
    <p:sldLayoutId id="2147484247" r:id="rId17"/>
    <p:sldLayoutId id="2147484248" r:id="rId18"/>
    <p:sldLayoutId id="2147484249" r:id="rId19"/>
    <p:sldLayoutId id="2147484250" r:id="rId20"/>
    <p:sldLayoutId id="2147484251" r:id="rId21"/>
    <p:sldLayoutId id="2147484252" r:id="rId22"/>
    <p:sldLayoutId id="2147484253" r:id="rId23"/>
    <p:sldLayoutId id="2147484254" r:id="rId24"/>
    <p:sldLayoutId id="2147484255" r:id="rId25"/>
    <p:sldLayoutId id="2147484256" r:id="rId26"/>
    <p:sldLayoutId id="2147484257" r:id="rId27"/>
    <p:sldLayoutId id="2147484258" r:id="rId28"/>
    <p:sldLayoutId id="2147484259" r:id="rId29"/>
    <p:sldLayoutId id="2147484260" r:id="rId30"/>
    <p:sldLayoutId id="2147484261" r:id="rId31"/>
    <p:sldLayoutId id="2147484262" r:id="rId32"/>
    <p:sldLayoutId id="2147484263" r:id="rId33"/>
    <p:sldLayoutId id="2147484264" r:id="rId34"/>
    <p:sldLayoutId id="2147484265" r:id="rId35"/>
    <p:sldLayoutId id="2147484266" r:id="rId36"/>
    <p:sldLayoutId id="2147484267" r:id="rId37"/>
    <p:sldLayoutId id="2147484268" r:id="rId38"/>
    <p:sldLayoutId id="2147484269" r:id="rId39"/>
    <p:sldLayoutId id="2147484270" r:id="rId40"/>
    <p:sldLayoutId id="2147484271" r:id="rId41"/>
    <p:sldLayoutId id="2147484272" r:id="rId42"/>
    <p:sldLayoutId id="2147484273" r:id="rId43"/>
    <p:sldLayoutId id="2147484274" r:id="rId44"/>
    <p:sldLayoutId id="2147484275" r:id="rId45"/>
    <p:sldLayoutId id="2147484276" r:id="rId46"/>
    <p:sldLayoutId id="2147484277" r:id="rId47"/>
    <p:sldLayoutId id="2147484278" r:id="rId48"/>
    <p:sldLayoutId id="2147484279" r:id="rId49"/>
    <p:sldLayoutId id="2147484280" r:id="rId50"/>
    <p:sldLayoutId id="2147484281" r:id="rId51"/>
    <p:sldLayoutId id="2147484282" r:id="rId52"/>
    <p:sldLayoutId id="2147484283" r:id="rId53"/>
    <p:sldLayoutId id="2147484284" r:id="rId54"/>
    <p:sldLayoutId id="2147484285" r:id="rId55"/>
    <p:sldLayoutId id="2147484286" r:id="rId56"/>
    <p:sldLayoutId id="2147484287" r:id="rId57"/>
    <p:sldLayoutId id="2147484288" r:id="rId58"/>
    <p:sldLayoutId id="2147484289" r:id="rId59"/>
    <p:sldLayoutId id="2147484290" r:id="rId60"/>
    <p:sldLayoutId id="2147484291" r:id="rId61"/>
    <p:sldLayoutId id="2147484292" r:id="rId62"/>
    <p:sldLayoutId id="2147484293" r:id="rId63"/>
    <p:sldLayoutId id="2147484294" r:id="rId64"/>
    <p:sldLayoutId id="2147484295" r:id="rId65"/>
    <p:sldLayoutId id="2147484296" r:id="rId66"/>
    <p:sldLayoutId id="2147484297" r:id="rId67"/>
    <p:sldLayoutId id="2147484298" r:id="rId68"/>
    <p:sldLayoutId id="2147484299" r:id="rId69"/>
    <p:sldLayoutId id="2147484300" r:id="rId70"/>
    <p:sldLayoutId id="2147484301" r:id="rId71"/>
    <p:sldLayoutId id="2147484302" r:id="rId72"/>
    <p:sldLayoutId id="2147484303" r:id="rId73"/>
    <p:sldLayoutId id="2147484304" r:id="rId74"/>
    <p:sldLayoutId id="2147484305" r:id="rId75"/>
    <p:sldLayoutId id="2147484306" r:id="rId76"/>
    <p:sldLayoutId id="2147484307" r:id="rId77"/>
    <p:sldLayoutId id="2147484308" r:id="rId78"/>
    <p:sldLayoutId id="2147484309" r:id="rId79"/>
    <p:sldLayoutId id="2147484310" r:id="rId80"/>
    <p:sldLayoutId id="2147484311" r:id="rId81"/>
    <p:sldLayoutId id="2147484312" r:id="rId82"/>
    <p:sldLayoutId id="2147484313" r:id="rId83"/>
    <p:sldLayoutId id="2147484314" r:id="rId84"/>
    <p:sldLayoutId id="2147484315" r:id="rId85"/>
    <p:sldLayoutId id="2147484316" r:id="rId86"/>
    <p:sldLayoutId id="2147484317" r:id="rId87"/>
    <p:sldLayoutId id="2147484318" r:id="rId88"/>
    <p:sldLayoutId id="2147484319" r:id="rId89"/>
    <p:sldLayoutId id="2147484320" r:id="rId90"/>
    <p:sldLayoutId id="2147484321" r:id="rId9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7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Folie" r:id="rId73" imgW="270" imgH="270" progId="TCLayout.ActiveDocument.1">
                  <p:embed/>
                </p:oleObj>
              </mc:Choice>
              <mc:Fallback>
                <p:oleObj name="think-cell Folie" r:id="rId73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650" y="1655999"/>
            <a:ext cx="8064500" cy="48686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650" y="692150"/>
            <a:ext cx="8064500" cy="738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noProof="0"/>
              <a:t>Titelmasterformat durch Klicken bearbeiten</a:t>
            </a:r>
            <a:endParaRPr lang="de-CH" noProof="0" dirty="0"/>
          </a:p>
        </p:txBody>
      </p:sp>
      <p:pic>
        <p:nvPicPr>
          <p:cNvPr id="9" name="LogoInternational" hidden="1"/>
          <p:cNvPicPr>
            <a:picLocks noChangeAspect="1"/>
          </p:cNvPicPr>
          <p:nvPr/>
        </p:nvPicPr>
        <p:blipFill>
          <a:blip r:embed="rId7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36" y="370955"/>
            <a:ext cx="3021822" cy="245237"/>
          </a:xfrm>
          <a:prstGeom prst="rect">
            <a:avLst/>
          </a:prstGeom>
        </p:spPr>
      </p:pic>
      <p:pic>
        <p:nvPicPr>
          <p:cNvPr id="10" name="LogoCargo" hidden="1"/>
          <p:cNvPicPr>
            <a:picLocks noChangeAspect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600" y="370955"/>
            <a:ext cx="2614479" cy="245237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B7BDCBBC-55B5-4ED3-AD54-40F0F7CB091E}"/>
              </a:ext>
            </a:extLst>
          </p:cNvPr>
          <p:cNvSpPr/>
          <p:nvPr userDrawn="1"/>
        </p:nvSpPr>
        <p:spPr>
          <a:xfrm>
            <a:off x="8521350" y="6618257"/>
            <a:ext cx="298800" cy="1224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/>
          <a:p>
            <a:pPr algn="r"/>
            <a:fld id="{553A951D-0F12-409F-AF6D-63C84B060942}" type="slidenum">
              <a:rPr lang="de-CH" sz="600" b="1" smtClean="0">
                <a:latin typeface="SBB Light" pitchFamily="2" charset="0"/>
              </a:rPr>
              <a:t>‹Nr.›</a:t>
            </a:fld>
            <a:endParaRPr lang="de-CH" sz="600" b="1" dirty="0">
              <a:latin typeface="SBB Light" pitchFamily="2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359AB23B-A831-4AA0-B01E-9256417C0206}"/>
              </a:ext>
            </a:extLst>
          </p:cNvPr>
          <p:cNvSpPr/>
          <p:nvPr userDrawn="1"/>
        </p:nvSpPr>
        <p:spPr>
          <a:xfrm>
            <a:off x="4572440" y="6618257"/>
            <a:ext cx="3960000" cy="1224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/>
          <a:p>
            <a:pPr algn="r"/>
            <a:r>
              <a:rPr lang="de-CH" sz="600" dirty="0">
                <a:latin typeface="SBB Light" pitchFamily="2" charset="0"/>
              </a:rPr>
              <a:t>TAK Workshop • Januar 2019</a:t>
            </a:r>
          </a:p>
        </p:txBody>
      </p:sp>
    </p:spTree>
    <p:extLst>
      <p:ext uri="{BB962C8B-B14F-4D97-AF65-F5344CB8AC3E}">
        <p14:creationId xmlns:p14="http://schemas.microsoft.com/office/powerpoint/2010/main" val="90320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374" r:id="rId4"/>
    <p:sldLayoutId id="2147484375" r:id="rId5"/>
    <p:sldLayoutId id="2147484376" r:id="rId6"/>
    <p:sldLayoutId id="2147484377" r:id="rId7"/>
    <p:sldLayoutId id="2147484378" r:id="rId8"/>
    <p:sldLayoutId id="2147484379" r:id="rId9"/>
    <p:sldLayoutId id="2147484380" r:id="rId10"/>
    <p:sldLayoutId id="2147484381" r:id="rId11"/>
    <p:sldLayoutId id="2147484382" r:id="rId12"/>
    <p:sldLayoutId id="2147484383" r:id="rId13"/>
    <p:sldLayoutId id="2147484384" r:id="rId14"/>
    <p:sldLayoutId id="2147484385" r:id="rId15"/>
    <p:sldLayoutId id="2147484386" r:id="rId16"/>
    <p:sldLayoutId id="2147484387" r:id="rId17"/>
    <p:sldLayoutId id="2147484388" r:id="rId18"/>
    <p:sldLayoutId id="2147484389" r:id="rId19"/>
    <p:sldLayoutId id="2147484391" r:id="rId20"/>
    <p:sldLayoutId id="2147484392" r:id="rId21"/>
    <p:sldLayoutId id="2147484393" r:id="rId22"/>
    <p:sldLayoutId id="2147484394" r:id="rId23"/>
    <p:sldLayoutId id="2147484395" r:id="rId24"/>
    <p:sldLayoutId id="2147484396" r:id="rId25"/>
    <p:sldLayoutId id="2147484397" r:id="rId26"/>
    <p:sldLayoutId id="2147484398" r:id="rId27"/>
    <p:sldLayoutId id="2147484399" r:id="rId28"/>
    <p:sldLayoutId id="2147484400" r:id="rId29"/>
    <p:sldLayoutId id="2147484401" r:id="rId30"/>
    <p:sldLayoutId id="2147484402" r:id="rId31"/>
    <p:sldLayoutId id="2147484403" r:id="rId32"/>
    <p:sldLayoutId id="2147484404" r:id="rId33"/>
    <p:sldLayoutId id="2147484405" r:id="rId34"/>
    <p:sldLayoutId id="2147484406" r:id="rId35"/>
    <p:sldLayoutId id="2147484407" r:id="rId36"/>
    <p:sldLayoutId id="2147484408" r:id="rId37"/>
    <p:sldLayoutId id="2147484409" r:id="rId38"/>
    <p:sldLayoutId id="2147484410" r:id="rId39"/>
    <p:sldLayoutId id="2147484411" r:id="rId40"/>
    <p:sldLayoutId id="2147484412" r:id="rId41"/>
    <p:sldLayoutId id="2147484413" r:id="rId42"/>
    <p:sldLayoutId id="2147484414" r:id="rId43"/>
    <p:sldLayoutId id="2147484415" r:id="rId44"/>
    <p:sldLayoutId id="2147484416" r:id="rId45"/>
    <p:sldLayoutId id="2147484417" r:id="rId46"/>
    <p:sldLayoutId id="2147484418" r:id="rId47"/>
    <p:sldLayoutId id="2147484419" r:id="rId48"/>
    <p:sldLayoutId id="2147484420" r:id="rId49"/>
    <p:sldLayoutId id="2147484421" r:id="rId50"/>
    <p:sldLayoutId id="2147484422" r:id="rId51"/>
    <p:sldLayoutId id="2147484423" r:id="rId52"/>
    <p:sldLayoutId id="2147484424" r:id="rId53"/>
    <p:sldLayoutId id="2147484425" r:id="rId54"/>
    <p:sldLayoutId id="2147484426" r:id="rId55"/>
    <p:sldLayoutId id="2147484427" r:id="rId56"/>
    <p:sldLayoutId id="2147484428" r:id="rId57"/>
    <p:sldLayoutId id="2147484429" r:id="rId58"/>
    <p:sldLayoutId id="2147484430" r:id="rId59"/>
    <p:sldLayoutId id="2147484431" r:id="rId60"/>
    <p:sldLayoutId id="2147484432" r:id="rId61"/>
    <p:sldLayoutId id="2147484433" r:id="rId62"/>
    <p:sldLayoutId id="2147484434" r:id="rId63"/>
    <p:sldLayoutId id="2147484435" r:id="rId64"/>
    <p:sldLayoutId id="2147484436" r:id="rId65"/>
    <p:sldLayoutId id="2147484437" r:id="rId66"/>
    <p:sldLayoutId id="2147484438" r:id="rId67"/>
    <p:sldLayoutId id="2147484439" r:id="rId68"/>
    <p:sldLayoutId id="2147484440" r:id="rId6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8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accent6"/>
        </a:buClr>
        <a:buSzPct val="80000"/>
        <a:buFont typeface="Wingdings 3" pitchFamily="18" charset="2"/>
        <a:buChar char="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6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000000"/>
        </a:buClr>
        <a:buSzPct val="90000"/>
        <a:buFont typeface="Arial" pitchFamily="34" charset="0"/>
        <a:buChar char="▪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64000" indent="-288000" algn="l" defTabSz="914400" rtl="0" eaLnBrk="1" latinLnBrk="0" hangingPunct="1">
        <a:lnSpc>
          <a:spcPts val="2500"/>
        </a:lnSpc>
        <a:spcBef>
          <a:spcPts val="1000"/>
        </a:spcBef>
        <a:buClr>
          <a:schemeClr val="tx1"/>
        </a:buClr>
        <a:buSzPct val="90000"/>
        <a:buFont typeface="Symbol" pitchFamily="18" charset="2"/>
        <a:buChar char="-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4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800000" indent="-288000" algn="l" defTabSz="914400" rtl="0" eaLnBrk="1" latinLnBrk="0" hangingPunct="1">
        <a:lnSpc>
          <a:spcPts val="2500"/>
        </a:lnSpc>
        <a:spcBef>
          <a:spcPts val="1000"/>
        </a:spcBef>
        <a:buClr>
          <a:srgbClr val="2D327D"/>
        </a:buClr>
        <a:buSzPct val="90000"/>
        <a:buFontTx/>
        <a:buNone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6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69.xml"/><Relationship Id="rId13" Type="http://schemas.openxmlformats.org/officeDocument/2006/relationships/oleObject" Target="../embeddings/oleObject62.bin"/><Relationship Id="rId18" Type="http://schemas.openxmlformats.org/officeDocument/2006/relationships/image" Target="../media/image34.jpeg"/><Relationship Id="rId26" Type="http://schemas.openxmlformats.org/officeDocument/2006/relationships/image" Target="../media/image42.png"/><Relationship Id="rId3" Type="http://schemas.openxmlformats.org/officeDocument/2006/relationships/tags" Target="../tags/tag64.xml"/><Relationship Id="rId21" Type="http://schemas.openxmlformats.org/officeDocument/2006/relationships/image" Target="../media/image37.jpeg"/><Relationship Id="rId7" Type="http://schemas.openxmlformats.org/officeDocument/2006/relationships/tags" Target="../tags/tag68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33.jpeg"/><Relationship Id="rId25" Type="http://schemas.openxmlformats.org/officeDocument/2006/relationships/image" Target="../media/image41.png"/><Relationship Id="rId33" Type="http://schemas.openxmlformats.org/officeDocument/2006/relationships/image" Target="../media/image49.jpeg"/><Relationship Id="rId2" Type="http://schemas.openxmlformats.org/officeDocument/2006/relationships/tags" Target="../tags/tag63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29" Type="http://schemas.openxmlformats.org/officeDocument/2006/relationships/image" Target="../media/image45.jpeg"/><Relationship Id="rId1" Type="http://schemas.openxmlformats.org/officeDocument/2006/relationships/vmlDrawing" Target="../drawings/vmlDrawing62.vml"/><Relationship Id="rId6" Type="http://schemas.openxmlformats.org/officeDocument/2006/relationships/tags" Target="../tags/tag67.xml"/><Relationship Id="rId11" Type="http://schemas.openxmlformats.org/officeDocument/2006/relationships/tags" Target="../tags/tag72.xml"/><Relationship Id="rId24" Type="http://schemas.openxmlformats.org/officeDocument/2006/relationships/image" Target="../media/image40.png"/><Relationship Id="rId32" Type="http://schemas.openxmlformats.org/officeDocument/2006/relationships/image" Target="../media/image48.jpeg"/><Relationship Id="rId5" Type="http://schemas.openxmlformats.org/officeDocument/2006/relationships/tags" Target="../tags/tag66.xml"/><Relationship Id="rId15" Type="http://schemas.openxmlformats.org/officeDocument/2006/relationships/image" Target="../media/image31.jpeg"/><Relationship Id="rId23" Type="http://schemas.openxmlformats.org/officeDocument/2006/relationships/image" Target="../media/image39.png"/><Relationship Id="rId28" Type="http://schemas.openxmlformats.org/officeDocument/2006/relationships/image" Target="../media/image44.jpeg"/><Relationship Id="rId10" Type="http://schemas.openxmlformats.org/officeDocument/2006/relationships/tags" Target="../tags/tag71.xml"/><Relationship Id="rId19" Type="http://schemas.openxmlformats.org/officeDocument/2006/relationships/image" Target="../media/image35.jpeg"/><Relationship Id="rId31" Type="http://schemas.openxmlformats.org/officeDocument/2006/relationships/image" Target="../media/image47.png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4" Type="http://schemas.openxmlformats.org/officeDocument/2006/relationships/image" Target="../media/image30.emf"/><Relationship Id="rId22" Type="http://schemas.openxmlformats.org/officeDocument/2006/relationships/image" Target="../media/image38.jpeg"/><Relationship Id="rId27" Type="http://schemas.openxmlformats.org/officeDocument/2006/relationships/image" Target="../media/image43.png"/><Relationship Id="rId30" Type="http://schemas.openxmlformats.org/officeDocument/2006/relationships/image" Target="../media/image46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oleObject" Target="../embeddings/oleObject63.bin"/><Relationship Id="rId18" Type="http://schemas.openxmlformats.org/officeDocument/2006/relationships/image" Target="../media/image34.jpeg"/><Relationship Id="rId26" Type="http://schemas.openxmlformats.org/officeDocument/2006/relationships/image" Target="../media/image42.png"/><Relationship Id="rId39" Type="http://schemas.microsoft.com/office/2007/relationships/hdphoto" Target="../media/hdphoto3.wdp"/><Relationship Id="rId3" Type="http://schemas.openxmlformats.org/officeDocument/2006/relationships/tags" Target="../tags/tag74.xml"/><Relationship Id="rId21" Type="http://schemas.openxmlformats.org/officeDocument/2006/relationships/image" Target="../media/image37.jpeg"/><Relationship Id="rId34" Type="http://schemas.openxmlformats.org/officeDocument/2006/relationships/image" Target="../media/image50.png"/><Relationship Id="rId7" Type="http://schemas.openxmlformats.org/officeDocument/2006/relationships/tags" Target="../tags/tag78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33.jpeg"/><Relationship Id="rId25" Type="http://schemas.openxmlformats.org/officeDocument/2006/relationships/image" Target="../media/image41.png"/><Relationship Id="rId33" Type="http://schemas.openxmlformats.org/officeDocument/2006/relationships/image" Target="../media/image49.jpeg"/><Relationship Id="rId38" Type="http://schemas.openxmlformats.org/officeDocument/2006/relationships/image" Target="../media/image52.png"/><Relationship Id="rId2" Type="http://schemas.openxmlformats.org/officeDocument/2006/relationships/tags" Target="../tags/tag73.xml"/><Relationship Id="rId16" Type="http://schemas.openxmlformats.org/officeDocument/2006/relationships/image" Target="../media/image32.png"/><Relationship Id="rId20" Type="http://schemas.openxmlformats.org/officeDocument/2006/relationships/image" Target="../media/image36.png"/><Relationship Id="rId29" Type="http://schemas.openxmlformats.org/officeDocument/2006/relationships/image" Target="../media/image45.jpeg"/><Relationship Id="rId41" Type="http://schemas.microsoft.com/office/2007/relationships/hdphoto" Target="../media/hdphoto4.wdp"/><Relationship Id="rId1" Type="http://schemas.openxmlformats.org/officeDocument/2006/relationships/vmlDrawing" Target="../drawings/vmlDrawing63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image" Target="../media/image40.png"/><Relationship Id="rId32" Type="http://schemas.openxmlformats.org/officeDocument/2006/relationships/image" Target="../media/image48.jpeg"/><Relationship Id="rId37" Type="http://schemas.microsoft.com/office/2007/relationships/hdphoto" Target="../media/hdphoto2.wdp"/><Relationship Id="rId40" Type="http://schemas.openxmlformats.org/officeDocument/2006/relationships/image" Target="../media/image53.png"/><Relationship Id="rId5" Type="http://schemas.openxmlformats.org/officeDocument/2006/relationships/tags" Target="../tags/tag76.xml"/><Relationship Id="rId15" Type="http://schemas.openxmlformats.org/officeDocument/2006/relationships/image" Target="../media/image31.jpeg"/><Relationship Id="rId23" Type="http://schemas.openxmlformats.org/officeDocument/2006/relationships/image" Target="../media/image39.png"/><Relationship Id="rId28" Type="http://schemas.openxmlformats.org/officeDocument/2006/relationships/image" Target="../media/image44.jpeg"/><Relationship Id="rId36" Type="http://schemas.openxmlformats.org/officeDocument/2006/relationships/image" Target="../media/image51.png"/><Relationship Id="rId10" Type="http://schemas.openxmlformats.org/officeDocument/2006/relationships/tags" Target="../tags/tag81.xml"/><Relationship Id="rId19" Type="http://schemas.openxmlformats.org/officeDocument/2006/relationships/image" Target="../media/image35.jpeg"/><Relationship Id="rId31" Type="http://schemas.openxmlformats.org/officeDocument/2006/relationships/image" Target="../media/image47.png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image" Target="../media/image30.emf"/><Relationship Id="rId22" Type="http://schemas.openxmlformats.org/officeDocument/2006/relationships/image" Target="../media/image38.jpeg"/><Relationship Id="rId27" Type="http://schemas.openxmlformats.org/officeDocument/2006/relationships/image" Target="../media/image43.png"/><Relationship Id="rId30" Type="http://schemas.openxmlformats.org/officeDocument/2006/relationships/image" Target="../media/image46.jpeg"/><Relationship Id="rId35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4.svg"/><Relationship Id="rId18" Type="http://schemas.microsoft.com/office/2007/relationships/hdphoto" Target="../media/hdphoto6.wdp"/><Relationship Id="rId26" Type="http://schemas.openxmlformats.org/officeDocument/2006/relationships/image" Target="../media/image76.png"/><Relationship Id="rId3" Type="http://schemas.openxmlformats.org/officeDocument/2006/relationships/image" Target="../media/image55.png"/><Relationship Id="rId21" Type="http://schemas.openxmlformats.org/officeDocument/2006/relationships/image" Target="../media/image71.png"/><Relationship Id="rId34" Type="http://schemas.openxmlformats.org/officeDocument/2006/relationships/image" Target="../media/image84.png"/><Relationship Id="rId7" Type="http://schemas.openxmlformats.org/officeDocument/2006/relationships/image" Target="../media/image59.pn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5" Type="http://schemas.openxmlformats.org/officeDocument/2006/relationships/image" Target="../media/image75.png"/><Relationship Id="rId33" Type="http://schemas.openxmlformats.org/officeDocument/2006/relationships/image" Target="../media/image83.png"/><Relationship Id="rId2" Type="http://schemas.openxmlformats.org/officeDocument/2006/relationships/image" Target="../media/image54.png"/><Relationship Id="rId16" Type="http://schemas.openxmlformats.org/officeDocument/2006/relationships/image" Target="../media/image67.png"/><Relationship Id="rId20" Type="http://schemas.openxmlformats.org/officeDocument/2006/relationships/image" Target="../media/image70.png"/><Relationship Id="rId29" Type="http://schemas.openxmlformats.org/officeDocument/2006/relationships/image" Target="../media/image79.svg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58.png"/><Relationship Id="rId11" Type="http://schemas.openxmlformats.org/officeDocument/2006/relationships/image" Target="../media/image62.png"/><Relationship Id="rId24" Type="http://schemas.openxmlformats.org/officeDocument/2006/relationships/image" Target="../media/image74.gif"/><Relationship Id="rId32" Type="http://schemas.openxmlformats.org/officeDocument/2006/relationships/image" Target="../media/image82.png"/><Relationship Id="rId37" Type="http://schemas.openxmlformats.org/officeDocument/2006/relationships/image" Target="../media/image87.png"/><Relationship Id="rId5" Type="http://schemas.openxmlformats.org/officeDocument/2006/relationships/image" Target="../media/image57.png"/><Relationship Id="rId15" Type="http://schemas.openxmlformats.org/officeDocument/2006/relationships/image" Target="../media/image66.png"/><Relationship Id="rId23" Type="http://schemas.openxmlformats.org/officeDocument/2006/relationships/image" Target="../media/image73.svg"/><Relationship Id="rId28" Type="http://schemas.openxmlformats.org/officeDocument/2006/relationships/image" Target="../media/image78.png"/><Relationship Id="rId36" Type="http://schemas.openxmlformats.org/officeDocument/2006/relationships/image" Target="../media/image86.png"/><Relationship Id="rId10" Type="http://schemas.microsoft.com/office/2007/relationships/hdphoto" Target="../media/hdphoto5.wdp"/><Relationship Id="rId19" Type="http://schemas.openxmlformats.org/officeDocument/2006/relationships/image" Target="../media/image69.png"/><Relationship Id="rId31" Type="http://schemas.openxmlformats.org/officeDocument/2006/relationships/image" Target="../media/image81.pn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5.png"/><Relationship Id="rId22" Type="http://schemas.openxmlformats.org/officeDocument/2006/relationships/image" Target="../media/image72.png"/><Relationship Id="rId27" Type="http://schemas.openxmlformats.org/officeDocument/2006/relationships/image" Target="../media/image77.svg"/><Relationship Id="rId30" Type="http://schemas.openxmlformats.org/officeDocument/2006/relationships/image" Target="../media/image80.jpeg"/><Relationship Id="rId35" Type="http://schemas.openxmlformats.org/officeDocument/2006/relationships/image" Target="../media/image85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7E997D-4EE5-4D89-A48E-6A9CA89C82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1"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F7E997D-4EE5-4D89-A48E-6A9CA89C82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oliennummernplatzhalter 3">
            <a:extLst>
              <a:ext uri="{FF2B5EF4-FFF2-40B4-BE49-F238E27FC236}">
                <a16:creationId xmlns:a16="http://schemas.microsoft.com/office/drawing/2014/main" id="{5CCF3602-ECBD-4223-8054-A24F29ACA4AF}"/>
              </a:ext>
            </a:extLst>
          </p:cNvPr>
          <p:cNvSpPr txBox="1">
            <a:spLocks/>
          </p:cNvSpPr>
          <p:nvPr/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115662-413A-4888-B9BC-797CDE14544F}" type="slidenum">
              <a:rPr kumimoji="0" lang="de-CH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CH" sz="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70E1856E-9CE2-4A4B-AA08-10BC035540AC}"/>
              </a:ext>
            </a:extLst>
          </p:cNvPr>
          <p:cNvSpPr txBox="1"/>
          <p:nvPr/>
        </p:nvSpPr>
        <p:spPr>
          <a:xfrm>
            <a:off x="6419433" y="6606984"/>
            <a:ext cx="2184850" cy="145656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rmAutofit fontScale="925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K </a:t>
            </a:r>
            <a:r>
              <a:rPr kumimoji="0" lang="de-CH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riesalp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| SBB | CEO-Office | 11./12.01.2019</a:t>
            </a:r>
          </a:p>
        </p:txBody>
      </p:sp>
      <p:sp>
        <p:nvSpPr>
          <p:cNvPr id="15" name="Ovale Legende 7">
            <a:extLst>
              <a:ext uri="{FF2B5EF4-FFF2-40B4-BE49-F238E27FC236}">
                <a16:creationId xmlns:a16="http://schemas.microsoft.com/office/drawing/2014/main" id="{4C139E42-DD73-4DCE-BCE5-A9C5750C3522}"/>
              </a:ext>
            </a:extLst>
          </p:cNvPr>
          <p:cNvSpPr/>
          <p:nvPr/>
        </p:nvSpPr>
        <p:spPr>
          <a:xfrm>
            <a:off x="395536" y="404664"/>
            <a:ext cx="7203161" cy="3600400"/>
          </a:xfrm>
          <a:prstGeom prst="wedgeEllipseCallout">
            <a:avLst>
              <a:gd name="adj1" fmla="val -48669"/>
              <a:gd name="adj2" fmla="val 51186"/>
            </a:avLst>
          </a:prstGeom>
          <a:solidFill>
            <a:schemeClr val="accent6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25CBC57-AC1A-4937-811A-4D18F1CF2A8C}"/>
              </a:ext>
            </a:extLst>
          </p:cNvPr>
          <p:cNvSpPr txBox="1"/>
          <p:nvPr/>
        </p:nvSpPr>
        <p:spPr>
          <a:xfrm>
            <a:off x="570167" y="484836"/>
            <a:ext cx="7023731" cy="223106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-fach</a:t>
            </a:r>
          </a:p>
        </p:txBody>
      </p:sp>
      <p:sp>
        <p:nvSpPr>
          <p:cNvPr id="18" name="Ovale Legende 10">
            <a:extLst>
              <a:ext uri="{FF2B5EF4-FFF2-40B4-BE49-F238E27FC236}">
                <a16:creationId xmlns:a16="http://schemas.microsoft.com/office/drawing/2014/main" id="{83FF8E6B-F21D-4E32-B4AA-AA56F92FA717}"/>
              </a:ext>
            </a:extLst>
          </p:cNvPr>
          <p:cNvSpPr>
            <a:spLocks noChangeAspect="1"/>
          </p:cNvSpPr>
          <p:nvPr/>
        </p:nvSpPr>
        <p:spPr>
          <a:xfrm>
            <a:off x="1952720" y="2996952"/>
            <a:ext cx="4386028" cy="2203747"/>
          </a:xfrm>
          <a:prstGeom prst="wedgeEllipseCallout">
            <a:avLst>
              <a:gd name="adj1" fmla="val -45371"/>
              <a:gd name="adj2" fmla="val 83545"/>
            </a:avLst>
          </a:prstGeom>
          <a:solidFill>
            <a:srgbClr val="7030A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6EA9918-3FBE-4F47-86FF-30F2D923812F}"/>
              </a:ext>
            </a:extLst>
          </p:cNvPr>
          <p:cNvSpPr txBox="1"/>
          <p:nvPr/>
        </p:nvSpPr>
        <p:spPr>
          <a:xfrm>
            <a:off x="1835696" y="3308992"/>
            <a:ext cx="4620074" cy="163217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machen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B881CE62-C6CD-49E8-B046-5BBC2F57688E}"/>
              </a:ext>
            </a:extLst>
          </p:cNvPr>
          <p:cNvGrpSpPr>
            <a:grpSpLocks noChangeAspect="1"/>
          </p:cNvGrpSpPr>
          <p:nvPr/>
        </p:nvGrpSpPr>
        <p:grpSpPr>
          <a:xfrm>
            <a:off x="3491880" y="4581128"/>
            <a:ext cx="4750167" cy="1934675"/>
            <a:chOff x="2521544" y="3950461"/>
            <a:chExt cx="5160910" cy="2322855"/>
          </a:xfrm>
        </p:grpSpPr>
        <p:sp>
          <p:nvSpPr>
            <p:cNvPr id="23" name="Ovale Legende 13">
              <a:extLst>
                <a:ext uri="{FF2B5EF4-FFF2-40B4-BE49-F238E27FC236}">
                  <a16:creationId xmlns:a16="http://schemas.microsoft.com/office/drawing/2014/main" id="{BCD1479A-0DBC-4DD4-A94E-723A398AEC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713056" y="3950461"/>
              <a:ext cx="4765284" cy="2322855"/>
            </a:xfrm>
            <a:prstGeom prst="wedgeEllipseCallout">
              <a:avLst>
                <a:gd name="adj1" fmla="val 53547"/>
                <a:gd name="adj2" fmla="val 46791"/>
              </a:avLst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t" anchorCtr="0">
              <a:norm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1A853765-18D3-4CA6-A806-A90DE3D19697}"/>
                </a:ext>
              </a:extLst>
            </p:cNvPr>
            <p:cNvSpPr txBox="1"/>
            <p:nvPr/>
          </p:nvSpPr>
          <p:spPr>
            <a:xfrm>
              <a:off x="2521544" y="4340477"/>
              <a:ext cx="5160910" cy="1486456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5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mit Tempo</a:t>
              </a:r>
            </a:p>
          </p:txBody>
        </p:sp>
      </p:grpSp>
      <p:sp>
        <p:nvSpPr>
          <p:cNvPr id="2" name="Textfeld 1">
            <a:extLst>
              <a:ext uri="{FF2B5EF4-FFF2-40B4-BE49-F238E27FC236}">
                <a16:creationId xmlns:a16="http://schemas.microsoft.com/office/drawing/2014/main" id="{045A26C1-2697-4C25-BB0D-4F1A938C2712}"/>
              </a:ext>
            </a:extLst>
          </p:cNvPr>
          <p:cNvSpPr txBox="1"/>
          <p:nvPr/>
        </p:nvSpPr>
        <p:spPr>
          <a:xfrm>
            <a:off x="4139952" y="2165512"/>
            <a:ext cx="2592288" cy="57488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direkt)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7E8A963-08A7-4351-8CAF-160630B4B254}"/>
              </a:ext>
            </a:extLst>
          </p:cNvPr>
          <p:cNvSpPr txBox="1"/>
          <p:nvPr/>
        </p:nvSpPr>
        <p:spPr>
          <a:xfrm>
            <a:off x="2849589" y="3283516"/>
            <a:ext cx="2592288" cy="57488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nicht)</a:t>
            </a:r>
          </a:p>
        </p:txBody>
      </p:sp>
    </p:spTree>
    <p:extLst>
      <p:ext uri="{BB962C8B-B14F-4D97-AF65-F5344CB8AC3E}">
        <p14:creationId xmlns:p14="http://schemas.microsoft.com/office/powerpoint/2010/main" val="36666408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00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BB060ED-430F-47F4-BEBC-C5BDC6813F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Folie" r:id="rId13" imgW="352" imgH="353" progId="TCLayout.ActiveDocument.1">
                  <p:embed/>
                </p:oleObj>
              </mc:Choice>
              <mc:Fallback>
                <p:oleObj name="think-cell Folie" r:id="rId13" imgW="352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BB060ED-430F-47F4-BEBC-C5BDC6813F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0" name="Grafik 99">
            <a:extLst>
              <a:ext uri="{FF2B5EF4-FFF2-40B4-BE49-F238E27FC236}">
                <a16:creationId xmlns:a16="http://schemas.microsoft.com/office/drawing/2014/main" id="{00087347-4949-42D1-ACE7-E81823AABBAE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4"/>
          <a:stretch/>
        </p:blipFill>
        <p:spPr>
          <a:xfrm>
            <a:off x="215270" y="3446163"/>
            <a:ext cx="1552702" cy="1982057"/>
          </a:xfrm>
          <a:prstGeom prst="rect">
            <a:avLst/>
          </a:prstGeom>
        </p:spPr>
      </p:pic>
      <p:pic>
        <p:nvPicPr>
          <p:cNvPr id="99" name="Grafik 98">
            <a:extLst>
              <a:ext uri="{FF2B5EF4-FFF2-40B4-BE49-F238E27FC236}">
                <a16:creationId xmlns:a16="http://schemas.microsoft.com/office/drawing/2014/main" id="{8D34A596-BC1B-4525-B8FB-47C36939D8A8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6577" r="24909"/>
          <a:stretch/>
        </p:blipFill>
        <p:spPr>
          <a:xfrm>
            <a:off x="3737686" y="460682"/>
            <a:ext cx="1544762" cy="198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E1F94A0-4AC6-488C-A6FD-152233863960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9"/>
          <a:stretch/>
        </p:blipFill>
        <p:spPr>
          <a:xfrm>
            <a:off x="7264884" y="3439532"/>
            <a:ext cx="1546415" cy="1980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C30C4975-6274-4A00-93BF-C2FD035F9627}"/>
              </a:ext>
            </a:extLst>
          </p:cNvPr>
          <p:cNvSpPr/>
          <p:nvPr/>
        </p:nvSpPr>
        <p:spPr>
          <a:xfrm>
            <a:off x="8045524" y="188556"/>
            <a:ext cx="920058" cy="506247"/>
          </a:xfrm>
          <a:prstGeom prst="rect">
            <a:avLst/>
          </a:prstGeom>
          <a:solidFill>
            <a:srgbClr val="E2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82D20E-5E43-4F6A-86D5-A6253998E6E7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71524" y="463471"/>
            <a:ext cx="1539775" cy="1980000"/>
          </a:xfrm>
          <a:prstGeom prst="rect">
            <a:avLst/>
          </a:prstGeom>
          <a:ln>
            <a:noFill/>
          </a:ln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9B4817B-C20A-434C-A61A-F08D22003A0C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80776" y="3448906"/>
            <a:ext cx="1548000" cy="1980000"/>
          </a:xfrm>
          <a:prstGeom prst="rect">
            <a:avLst/>
          </a:prstGeom>
        </p:spPr>
      </p:pic>
      <p:pic>
        <p:nvPicPr>
          <p:cNvPr id="117" name="Grafik 116">
            <a:extLst>
              <a:ext uri="{FF2B5EF4-FFF2-40B4-BE49-F238E27FC236}">
                <a16:creationId xmlns:a16="http://schemas.microsoft.com/office/drawing/2014/main" id="{0484D171-0EB8-4125-9866-6DE70056CD81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4359" y="3447534"/>
            <a:ext cx="1548000" cy="1981372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751DA48F-3F35-4F8C-A936-02AB130AA142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8226" y="463471"/>
            <a:ext cx="1548000" cy="1980000"/>
          </a:xfrm>
          <a:prstGeom prst="rect">
            <a:avLst/>
          </a:prstGeom>
        </p:spPr>
      </p:pic>
      <p:pic>
        <p:nvPicPr>
          <p:cNvPr id="110" name="Grafik 109">
            <a:extLst>
              <a:ext uri="{FF2B5EF4-FFF2-40B4-BE49-F238E27FC236}">
                <a16:creationId xmlns:a16="http://schemas.microsoft.com/office/drawing/2014/main" id="{ADF984CB-6586-499F-AF7C-82AE4EAA93F1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81550" y="463471"/>
            <a:ext cx="1548000" cy="1980000"/>
          </a:xfrm>
          <a:prstGeom prst="rect">
            <a:avLst/>
          </a:prstGeom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6122C418-95B9-4B9A-A245-861A1A6E1129}"/>
              </a:ext>
            </a:extLst>
          </p:cNvPr>
          <p:cNvSpPr txBox="1"/>
          <p:nvPr/>
        </p:nvSpPr>
        <p:spPr>
          <a:xfrm>
            <a:off x="217193" y="1903471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Zuverlässigkeit Bahnbetrieb &amp; </a:t>
            </a:r>
            <a:b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</a:b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Qualität Flott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C7D71AD9-3EF7-4F67-9699-54554FEA8428}"/>
              </a:ext>
            </a:extLst>
          </p:cNvPr>
          <p:cNvSpPr txBox="1"/>
          <p:nvPr/>
        </p:nvSpPr>
        <p:spPr>
          <a:xfrm>
            <a:off x="1990301" y="1903471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ervicequalität &amp; Preis/Leistung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650904BE-AA6F-4CA0-BC68-1C5C8F7BD41E}"/>
              </a:ext>
            </a:extLst>
          </p:cNvPr>
          <p:cNvSpPr txBox="1"/>
          <p:nvPr/>
        </p:nvSpPr>
        <p:spPr>
          <a:xfrm>
            <a:off x="3742573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ailFit20/30 un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BBagil2020</a:t>
            </a: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5EA5E8B2-838E-48ED-8960-F5C24D068A58}"/>
              </a:ext>
            </a:extLst>
          </p:cNvPr>
          <p:cNvSpPr txBox="1"/>
          <p:nvPr/>
        </p:nvSpPr>
        <p:spPr>
          <a:xfrm>
            <a:off x="7271524" y="1903471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Geschäfts-prozesse@SBB</a:t>
            </a: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F3B4B050-85B5-4747-BE66-7CADF3BE41DB}"/>
              </a:ext>
            </a:extLst>
          </p:cNvPr>
          <p:cNvSpPr txBox="1"/>
          <p:nvPr/>
        </p:nvSpPr>
        <p:spPr>
          <a:xfrm>
            <a:off x="1982860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Business </a:t>
            </a:r>
            <a:b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</a:b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Developmen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6EA7B7B-14C9-434A-879E-904AA3E6A6D2}"/>
              </a:ext>
            </a:extLst>
          </p:cNvPr>
          <p:cNvSpPr txBox="1"/>
          <p:nvPr/>
        </p:nvSpPr>
        <p:spPr>
          <a:xfrm>
            <a:off x="219972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Unterhalten &amp; Bauen unter Betrieb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37A659BF-BEA8-4A1B-AE5B-7A73BBA8589F}"/>
              </a:ext>
            </a:extLst>
          </p:cNvPr>
          <p:cNvSpPr txBox="1"/>
          <p:nvPr/>
        </p:nvSpPr>
        <p:spPr>
          <a:xfrm>
            <a:off x="5303533" y="2874077"/>
            <a:ext cx="3840467" cy="496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srgbClr val="EB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MPO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286BA39A-5055-49BB-A3A5-4871849852B1}"/>
              </a:ext>
            </a:extLst>
          </p:cNvPr>
          <p:cNvSpPr txBox="1"/>
          <p:nvPr/>
        </p:nvSpPr>
        <p:spPr>
          <a:xfrm>
            <a:off x="6848" y="2868829"/>
            <a:ext cx="3870508" cy="496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srgbClr val="EB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ERTRAUEN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B26D4569-8A4A-42B4-9111-E2A90EE7280D}"/>
              </a:ext>
            </a:extLst>
          </p:cNvPr>
          <p:cNvSpPr txBox="1"/>
          <p:nvPr/>
        </p:nvSpPr>
        <p:spPr>
          <a:xfrm>
            <a:off x="2233" y="2544633"/>
            <a:ext cx="3870508" cy="496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AHN IM GRIFF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519E3487-53EE-492C-AED7-4040D3FBEC60}"/>
              </a:ext>
            </a:extLst>
          </p:cNvPr>
          <p:cNvSpPr/>
          <p:nvPr/>
        </p:nvSpPr>
        <p:spPr>
          <a:xfrm>
            <a:off x="4690187" y="2612050"/>
            <a:ext cx="541802" cy="638009"/>
          </a:xfrm>
          <a:prstGeom prst="chevron">
            <a:avLst>
              <a:gd name="adj" fmla="val 61413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Pfeil: Chevron 65">
            <a:extLst>
              <a:ext uri="{FF2B5EF4-FFF2-40B4-BE49-F238E27FC236}">
                <a16:creationId xmlns:a16="http://schemas.microsoft.com/office/drawing/2014/main" id="{8D3BB9A9-67C2-4845-ADFF-D874C915A991}"/>
              </a:ext>
            </a:extLst>
          </p:cNvPr>
          <p:cNvSpPr/>
          <p:nvPr/>
        </p:nvSpPr>
        <p:spPr>
          <a:xfrm flipH="1">
            <a:off x="3912012" y="2611115"/>
            <a:ext cx="541802" cy="638009"/>
          </a:xfrm>
          <a:prstGeom prst="chevron">
            <a:avLst>
              <a:gd name="adj" fmla="val 61413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C40743D-D85E-4929-94CD-00A7C0D51770}"/>
              </a:ext>
            </a:extLst>
          </p:cNvPr>
          <p:cNvSpPr/>
          <p:nvPr/>
        </p:nvSpPr>
        <p:spPr>
          <a:xfrm rot="16200000">
            <a:off x="4245360" y="2858767"/>
            <a:ext cx="637074" cy="14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3A762C87-7BCC-4953-BDD2-99E836735CE3}"/>
              </a:ext>
            </a:extLst>
          </p:cNvPr>
          <p:cNvSpPr/>
          <p:nvPr/>
        </p:nvSpPr>
        <p:spPr>
          <a:xfrm>
            <a:off x="4253464" y="2858299"/>
            <a:ext cx="637074" cy="14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A87303D6-0F13-4193-8631-616D28668CDD}"/>
              </a:ext>
            </a:extLst>
          </p:cNvPr>
          <p:cNvSpPr/>
          <p:nvPr/>
        </p:nvSpPr>
        <p:spPr>
          <a:xfrm>
            <a:off x="4890538" y="2858299"/>
            <a:ext cx="185518" cy="1436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ABAAE3A-D295-4C5E-B737-17DFE888D176}"/>
              </a:ext>
            </a:extLst>
          </p:cNvPr>
          <p:cNvSpPr/>
          <p:nvPr/>
        </p:nvSpPr>
        <p:spPr>
          <a:xfrm>
            <a:off x="4067946" y="2858299"/>
            <a:ext cx="185518" cy="1436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969D5D9-DC74-41D3-985A-14E84DBFA623}"/>
              </a:ext>
            </a:extLst>
          </p:cNvPr>
          <p:cNvCxnSpPr>
            <a:cxnSpLocks/>
            <a:endCxn id="66" idx="3"/>
          </p:cNvCxnSpPr>
          <p:nvPr/>
        </p:nvCxnSpPr>
        <p:spPr>
          <a:xfrm>
            <a:off x="0" y="2930119"/>
            <a:ext cx="3912012" cy="1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D1CDE1C4-BFCB-41D8-AE24-ACC3BA3C7422}"/>
              </a:ext>
            </a:extLst>
          </p:cNvPr>
          <p:cNvCxnSpPr>
            <a:cxnSpLocks/>
            <a:endCxn id="7" idx="3"/>
          </p:cNvCxnSpPr>
          <p:nvPr/>
        </p:nvCxnSpPr>
        <p:spPr>
          <a:xfrm flipH="1">
            <a:off x="5231989" y="2930119"/>
            <a:ext cx="3912011" cy="93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B048A25E-2053-4434-9D9F-CBB3DE5F99CB}"/>
              </a:ext>
            </a:extLst>
          </p:cNvPr>
          <p:cNvSpPr txBox="1"/>
          <p:nvPr/>
        </p:nvSpPr>
        <p:spPr>
          <a:xfrm>
            <a:off x="5303533" y="2539504"/>
            <a:ext cx="3840467" cy="496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UKUNFT GESTALTEN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C881D6D3-E407-4AD2-8D2B-32AB134B988A}"/>
              </a:ext>
            </a:extLst>
          </p:cNvPr>
          <p:cNvSpPr txBox="1"/>
          <p:nvPr/>
        </p:nvSpPr>
        <p:spPr>
          <a:xfrm>
            <a:off x="7267411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ulturelle Transformation</a:t>
            </a:r>
          </a:p>
        </p:txBody>
      </p:sp>
      <p:pic>
        <p:nvPicPr>
          <p:cNvPr id="71" name="Picture 5">
            <a:extLst>
              <a:ext uri="{FF2B5EF4-FFF2-40B4-BE49-F238E27FC236}">
                <a16:creationId xmlns:a16="http://schemas.microsoft.com/office/drawing/2014/main" id="{B3A355EA-DEC2-4914-89D5-E94487407EE7}"/>
              </a:ext>
            </a:extLst>
          </p:cNvPr>
          <p:cNvPicPr preferRelativeResize="0">
            <a:picLocks noChangeArrowheads="1"/>
          </p:cNvPicPr>
          <p:nvPr>
            <p:custDataLst>
              <p:tags r:id="rId3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00" y="5597748"/>
            <a:ext cx="900113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">
            <a:extLst>
              <a:ext uri="{FF2B5EF4-FFF2-40B4-BE49-F238E27FC236}">
                <a16:creationId xmlns:a16="http://schemas.microsoft.com/office/drawing/2014/main" id="{9F4DC315-6C52-4448-BAC4-6B7133AC4E25}"/>
              </a:ext>
            </a:extLst>
          </p:cNvPr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800" y="5597748"/>
            <a:ext cx="900113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7">
            <a:extLst>
              <a:ext uri="{FF2B5EF4-FFF2-40B4-BE49-F238E27FC236}">
                <a16:creationId xmlns:a16="http://schemas.microsoft.com/office/drawing/2014/main" id="{E3925FE6-0559-4D29-BBD2-9D31AE042D34}"/>
              </a:ext>
            </a:extLst>
          </p:cNvPr>
          <p:cNvPicPr preferRelativeResize="0">
            <a:picLocks noChangeArrowheads="1"/>
          </p:cNvPicPr>
          <p:nvPr>
            <p:custDataLst>
              <p:tags r:id="rId5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424" y="5597748"/>
            <a:ext cx="900112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8">
            <a:extLst>
              <a:ext uri="{FF2B5EF4-FFF2-40B4-BE49-F238E27FC236}">
                <a16:creationId xmlns:a16="http://schemas.microsoft.com/office/drawing/2014/main" id="{B68D346F-14D7-44B3-AE15-884362A9AFCE}"/>
              </a:ext>
            </a:extLst>
          </p:cNvPr>
          <p:cNvPicPr preferRelativeResize="0">
            <a:picLocks noChangeArrowheads="1"/>
          </p:cNvPicPr>
          <p:nvPr>
            <p:custDataLst>
              <p:tags r:id="rId6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414" y="5597748"/>
            <a:ext cx="898525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9">
            <a:extLst>
              <a:ext uri="{FF2B5EF4-FFF2-40B4-BE49-F238E27FC236}">
                <a16:creationId xmlns:a16="http://schemas.microsoft.com/office/drawing/2014/main" id="{0FEC25C4-7F4B-44C2-B93D-79C0C2CE0699}"/>
              </a:ext>
            </a:extLst>
          </p:cNvPr>
          <p:cNvPicPr preferRelativeResize="0">
            <a:picLocks noChangeArrowheads="1"/>
          </p:cNvPicPr>
          <p:nvPr>
            <p:custDataLst>
              <p:tags r:id="rId7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325" y="5597748"/>
            <a:ext cx="900113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0">
            <a:extLst>
              <a:ext uri="{FF2B5EF4-FFF2-40B4-BE49-F238E27FC236}">
                <a16:creationId xmlns:a16="http://schemas.microsoft.com/office/drawing/2014/main" id="{270A1BB1-42FE-437C-B1D4-DCC8C4BBE769}"/>
              </a:ext>
            </a:extLst>
          </p:cNvPr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39967" y="5597748"/>
            <a:ext cx="898525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1">
            <a:extLst>
              <a:ext uri="{FF2B5EF4-FFF2-40B4-BE49-F238E27FC236}">
                <a16:creationId xmlns:a16="http://schemas.microsoft.com/office/drawing/2014/main" id="{93004CCC-14B0-4BDF-A364-07860E14D175}"/>
              </a:ext>
            </a:extLst>
          </p:cNvPr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14345" y="5597748"/>
            <a:ext cx="898525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2">
            <a:extLst>
              <a:ext uri="{FF2B5EF4-FFF2-40B4-BE49-F238E27FC236}">
                <a16:creationId xmlns:a16="http://schemas.microsoft.com/office/drawing/2014/main" id="{FC17674F-DF95-4CD8-9956-5B1B40C77100}"/>
              </a:ext>
            </a:extLst>
          </p:cNvPr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77956" y="5597748"/>
            <a:ext cx="896943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3">
            <a:extLst>
              <a:ext uri="{FF2B5EF4-FFF2-40B4-BE49-F238E27FC236}">
                <a16:creationId xmlns:a16="http://schemas.microsoft.com/office/drawing/2014/main" id="{F972FC4C-77E6-4702-815E-2D704699603C}"/>
              </a:ext>
            </a:extLst>
          </p:cNvPr>
          <p:cNvPicPr>
            <a:picLocks noChangeArrowheads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924" y="5597748"/>
            <a:ext cx="900112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Rechteck 87">
            <a:extLst>
              <a:ext uri="{FF2B5EF4-FFF2-40B4-BE49-F238E27FC236}">
                <a16:creationId xmlns:a16="http://schemas.microsoft.com/office/drawing/2014/main" id="{A4E170DF-FE8A-4C21-8602-0762D9E6175F}"/>
              </a:ext>
            </a:extLst>
          </p:cNvPr>
          <p:cNvSpPr/>
          <p:nvPr/>
        </p:nvSpPr>
        <p:spPr>
          <a:xfrm>
            <a:off x="224300" y="5597748"/>
            <a:ext cx="8604236" cy="915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8330200-3DF5-4264-A561-D5E18CD5292C}"/>
              </a:ext>
            </a:extLst>
          </p:cNvPr>
          <p:cNvSpPr/>
          <p:nvPr/>
        </p:nvSpPr>
        <p:spPr>
          <a:xfrm>
            <a:off x="94596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A0557EF3-247F-4E2E-B6DD-4ED1654F356F}"/>
              </a:ext>
            </a:extLst>
          </p:cNvPr>
          <p:cNvSpPr/>
          <p:nvPr/>
        </p:nvSpPr>
        <p:spPr>
          <a:xfrm>
            <a:off x="1856797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3A99B118-211A-43F3-AEC7-8194192AAE0E}"/>
              </a:ext>
            </a:extLst>
          </p:cNvPr>
          <p:cNvSpPr/>
          <p:nvPr/>
        </p:nvSpPr>
        <p:spPr>
          <a:xfrm>
            <a:off x="7143400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5259A121-EF5E-4AFA-B121-D38927EDE5DB}"/>
              </a:ext>
            </a:extLst>
          </p:cNvPr>
          <p:cNvSpPr/>
          <p:nvPr/>
        </p:nvSpPr>
        <p:spPr>
          <a:xfrm>
            <a:off x="98300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F86B50EB-8FFD-4CF3-A3B8-E214F14AB880}"/>
              </a:ext>
            </a:extLst>
          </p:cNvPr>
          <p:cNvSpPr/>
          <p:nvPr/>
        </p:nvSpPr>
        <p:spPr>
          <a:xfrm>
            <a:off x="1858050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8679C32B-E80A-4E04-A402-3420A325EA4C}"/>
              </a:ext>
            </a:extLst>
          </p:cNvPr>
          <p:cNvSpPr/>
          <p:nvPr/>
        </p:nvSpPr>
        <p:spPr>
          <a:xfrm>
            <a:off x="7137299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CE38AADA-1E16-47B9-B562-28D68BB4D93B}"/>
              </a:ext>
            </a:extLst>
          </p:cNvPr>
          <p:cNvSpPr/>
          <p:nvPr/>
        </p:nvSpPr>
        <p:spPr>
          <a:xfrm>
            <a:off x="3617800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86" name="Foliennummernplatzhalter 3">
            <a:extLst>
              <a:ext uri="{FF2B5EF4-FFF2-40B4-BE49-F238E27FC236}">
                <a16:creationId xmlns:a16="http://schemas.microsoft.com/office/drawing/2014/main" id="{D523EE17-87E2-4FD4-B9D2-1CA5F068749B}"/>
              </a:ext>
            </a:extLst>
          </p:cNvPr>
          <p:cNvSpPr txBox="1">
            <a:spLocks/>
          </p:cNvSpPr>
          <p:nvPr/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115662-413A-4888-B9BC-797CDE14544F}" type="slidenum">
              <a:rPr kumimoji="0" lang="de-CH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CH" sz="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421E4F19-76B7-48B4-960D-65E51D871950}"/>
              </a:ext>
            </a:extLst>
          </p:cNvPr>
          <p:cNvSpPr txBox="1"/>
          <p:nvPr/>
        </p:nvSpPr>
        <p:spPr>
          <a:xfrm>
            <a:off x="6419433" y="6606984"/>
            <a:ext cx="2184850" cy="145656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rmAutofit fontScale="925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K </a:t>
            </a:r>
            <a:r>
              <a:rPr kumimoji="0" lang="de-CH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riesalp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| SBB | CEO-Office | 11./12.01.2019</a:t>
            </a:r>
          </a:p>
        </p:txBody>
      </p:sp>
      <p:sp>
        <p:nvSpPr>
          <p:cNvPr id="2" name="Inhaltsplatzhalter 4">
            <a:extLst>
              <a:ext uri="{FF2B5EF4-FFF2-40B4-BE49-F238E27FC236}">
                <a16:creationId xmlns:a16="http://schemas.microsoft.com/office/drawing/2014/main" id="{8D26E383-A121-4DA2-90CB-0744524C33C2}"/>
              </a:ext>
            </a:extLst>
          </p:cNvPr>
          <p:cNvSpPr txBox="1">
            <a:spLocks/>
          </p:cNvSpPr>
          <p:nvPr/>
        </p:nvSpPr>
        <p:spPr>
          <a:xfrm>
            <a:off x="217194" y="188557"/>
            <a:ext cx="2338582" cy="418492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  <a:extLst/>
        </p:spPr>
        <p:txBody>
          <a:bodyPr vert="horz" wrap="square" lIns="108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 2019.</a:t>
            </a:r>
          </a:p>
        </p:txBody>
      </p:sp>
      <p:pic>
        <p:nvPicPr>
          <p:cNvPr id="92" name="Grafik 91">
            <a:extLst>
              <a:ext uri="{FF2B5EF4-FFF2-40B4-BE49-F238E27FC236}">
                <a16:creationId xmlns:a16="http://schemas.microsoft.com/office/drawing/2014/main" id="{BEF5827C-D4CF-4DEA-B51D-84C920E4B8FD}"/>
              </a:ext>
            </a:extLst>
          </p:cNvPr>
          <p:cNvPicPr>
            <a:picLocks noChangeAspect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07942" y="3448906"/>
            <a:ext cx="1548000" cy="1980000"/>
          </a:xfrm>
          <a:prstGeom prst="rect">
            <a:avLst/>
          </a:prstGeom>
        </p:spPr>
      </p:pic>
      <p:pic>
        <p:nvPicPr>
          <p:cNvPr id="98" name="Grafik 97">
            <a:extLst>
              <a:ext uri="{FF2B5EF4-FFF2-40B4-BE49-F238E27FC236}">
                <a16:creationId xmlns:a16="http://schemas.microsoft.com/office/drawing/2014/main" id="{281F8F38-4FC7-4803-89AC-06B5541D868F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5512961" y="463471"/>
            <a:ext cx="1548000" cy="1980000"/>
          </a:xfrm>
          <a:prstGeom prst="rect">
            <a:avLst/>
          </a:prstGeom>
        </p:spPr>
      </p:pic>
      <p:sp>
        <p:nvSpPr>
          <p:cNvPr id="41" name="Textfeld 40">
            <a:extLst>
              <a:ext uri="{FF2B5EF4-FFF2-40B4-BE49-F238E27FC236}">
                <a16:creationId xmlns:a16="http://schemas.microsoft.com/office/drawing/2014/main" id="{EE869110-8618-4553-B2E5-2D5AA6EA4862}"/>
              </a:ext>
            </a:extLst>
          </p:cNvPr>
          <p:cNvSpPr txBox="1"/>
          <p:nvPr/>
        </p:nvSpPr>
        <p:spPr>
          <a:xfrm>
            <a:off x="3733404" y="1903471"/>
            <a:ext cx="1563974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egionale Verankerung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2A519ED6-B6ED-44B8-AD62-145757FDB287}"/>
              </a:ext>
            </a:extLst>
          </p:cNvPr>
          <p:cNvSpPr txBox="1"/>
          <p:nvPr/>
        </p:nvSpPr>
        <p:spPr>
          <a:xfrm>
            <a:off x="5507942" y="1903471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artnerstrategie Cargo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55F6C19A-EAD9-4DD5-B02D-084E6EF9A227}"/>
              </a:ext>
            </a:extLst>
          </p:cNvPr>
          <p:cNvSpPr txBox="1"/>
          <p:nvPr/>
        </p:nvSpPr>
        <p:spPr>
          <a:xfrm>
            <a:off x="5508636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Langfristige </a:t>
            </a: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Inte-grierte</a:t>
            </a: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Mobilitäts- &amp; Arealentwicklung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885DC3B5-BEA6-48EA-9B59-22B2AEFC15CB}"/>
              </a:ext>
            </a:extLst>
          </p:cNvPr>
          <p:cNvSpPr/>
          <p:nvPr/>
        </p:nvSpPr>
        <p:spPr>
          <a:xfrm>
            <a:off x="3618998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5E68B3D4-B115-4EA1-B510-C0DF25361860}"/>
              </a:ext>
            </a:extLst>
          </p:cNvPr>
          <p:cNvSpPr/>
          <p:nvPr/>
        </p:nvSpPr>
        <p:spPr>
          <a:xfrm>
            <a:off x="5381199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883BD299-55A9-4D9A-ABC2-94A09A543A8A}"/>
              </a:ext>
            </a:extLst>
          </p:cNvPr>
          <p:cNvSpPr/>
          <p:nvPr/>
        </p:nvSpPr>
        <p:spPr>
          <a:xfrm>
            <a:off x="5377550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712009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001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BB060ED-430F-47F4-BEBC-C5BDC6813F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4" name="think-cell Folie" r:id="rId13" imgW="352" imgH="353" progId="TCLayout.ActiveDocument.1">
                  <p:embed/>
                </p:oleObj>
              </mc:Choice>
              <mc:Fallback>
                <p:oleObj name="think-cell Folie" r:id="rId13" imgW="352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BB060ED-430F-47F4-BEBC-C5BDC6813F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0" name="Grafik 99">
            <a:extLst>
              <a:ext uri="{FF2B5EF4-FFF2-40B4-BE49-F238E27FC236}">
                <a16:creationId xmlns:a16="http://schemas.microsoft.com/office/drawing/2014/main" id="{00087347-4949-42D1-ACE7-E81823AABBAE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4"/>
          <a:stretch/>
        </p:blipFill>
        <p:spPr>
          <a:xfrm>
            <a:off x="215270" y="3446163"/>
            <a:ext cx="1552702" cy="1982057"/>
          </a:xfrm>
          <a:prstGeom prst="rect">
            <a:avLst/>
          </a:prstGeom>
        </p:spPr>
      </p:pic>
      <p:pic>
        <p:nvPicPr>
          <p:cNvPr id="99" name="Grafik 98">
            <a:extLst>
              <a:ext uri="{FF2B5EF4-FFF2-40B4-BE49-F238E27FC236}">
                <a16:creationId xmlns:a16="http://schemas.microsoft.com/office/drawing/2014/main" id="{8D34A596-BC1B-4525-B8FB-47C36939D8A8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6577" r="24909"/>
          <a:stretch/>
        </p:blipFill>
        <p:spPr>
          <a:xfrm>
            <a:off x="3737686" y="460682"/>
            <a:ext cx="1544762" cy="1980000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4E1F94A0-4AC6-488C-A6FD-152233863960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9"/>
          <a:stretch/>
        </p:blipFill>
        <p:spPr>
          <a:xfrm>
            <a:off x="7264884" y="3439532"/>
            <a:ext cx="1546415" cy="1980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C30C4975-6274-4A00-93BF-C2FD035F9627}"/>
              </a:ext>
            </a:extLst>
          </p:cNvPr>
          <p:cNvSpPr/>
          <p:nvPr/>
        </p:nvSpPr>
        <p:spPr>
          <a:xfrm>
            <a:off x="8045524" y="188556"/>
            <a:ext cx="920058" cy="506247"/>
          </a:xfrm>
          <a:prstGeom prst="rect">
            <a:avLst/>
          </a:prstGeom>
          <a:solidFill>
            <a:srgbClr val="E200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82D20E-5E43-4F6A-86D5-A6253998E6E7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71524" y="463471"/>
            <a:ext cx="1539775" cy="1980000"/>
          </a:xfrm>
          <a:prstGeom prst="rect">
            <a:avLst/>
          </a:prstGeom>
          <a:ln>
            <a:noFill/>
          </a:ln>
        </p:spPr>
      </p:pic>
      <p:pic>
        <p:nvPicPr>
          <p:cNvPr id="112" name="Grafik 111">
            <a:extLst>
              <a:ext uri="{FF2B5EF4-FFF2-40B4-BE49-F238E27FC236}">
                <a16:creationId xmlns:a16="http://schemas.microsoft.com/office/drawing/2014/main" id="{C9B4817B-C20A-434C-A61A-F08D22003A0C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80776" y="3448906"/>
            <a:ext cx="1548000" cy="1980000"/>
          </a:xfrm>
          <a:prstGeom prst="rect">
            <a:avLst/>
          </a:prstGeom>
        </p:spPr>
      </p:pic>
      <p:pic>
        <p:nvPicPr>
          <p:cNvPr id="117" name="Grafik 116">
            <a:extLst>
              <a:ext uri="{FF2B5EF4-FFF2-40B4-BE49-F238E27FC236}">
                <a16:creationId xmlns:a16="http://schemas.microsoft.com/office/drawing/2014/main" id="{0484D171-0EB8-4125-9866-6DE70056CD81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44359" y="3447534"/>
            <a:ext cx="1548000" cy="1981372"/>
          </a:xfrm>
          <a:prstGeom prst="rect">
            <a:avLst/>
          </a:prstGeom>
        </p:spPr>
      </p:pic>
      <p:pic>
        <p:nvPicPr>
          <p:cNvPr id="109" name="Grafik 108">
            <a:extLst>
              <a:ext uri="{FF2B5EF4-FFF2-40B4-BE49-F238E27FC236}">
                <a16:creationId xmlns:a16="http://schemas.microsoft.com/office/drawing/2014/main" id="{751DA48F-3F35-4F8C-A936-02AB130AA142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8226" y="463471"/>
            <a:ext cx="1548000" cy="1980000"/>
          </a:xfrm>
          <a:prstGeom prst="rect">
            <a:avLst/>
          </a:prstGeom>
        </p:spPr>
      </p:pic>
      <p:pic>
        <p:nvPicPr>
          <p:cNvPr id="110" name="Grafik 109">
            <a:extLst>
              <a:ext uri="{FF2B5EF4-FFF2-40B4-BE49-F238E27FC236}">
                <a16:creationId xmlns:a16="http://schemas.microsoft.com/office/drawing/2014/main" id="{ADF984CB-6586-499F-AF7C-82AE4EAA93F1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81550" y="463471"/>
            <a:ext cx="1548000" cy="1980000"/>
          </a:xfrm>
          <a:prstGeom prst="rect">
            <a:avLst/>
          </a:prstGeom>
        </p:spPr>
      </p:pic>
      <p:sp>
        <p:nvSpPr>
          <p:cNvPr id="42" name="Textfeld 41">
            <a:extLst>
              <a:ext uri="{FF2B5EF4-FFF2-40B4-BE49-F238E27FC236}">
                <a16:creationId xmlns:a16="http://schemas.microsoft.com/office/drawing/2014/main" id="{6122C418-95B9-4B9A-A245-861A1A6E1129}"/>
              </a:ext>
            </a:extLst>
          </p:cNvPr>
          <p:cNvSpPr txBox="1"/>
          <p:nvPr/>
        </p:nvSpPr>
        <p:spPr>
          <a:xfrm>
            <a:off x="217193" y="1903471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Zuverlässigkeit Bahnbetrieb &amp; </a:t>
            </a:r>
            <a:b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</a:b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Qualität Flotte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C7D71AD9-3EF7-4F67-9699-54554FEA8428}"/>
              </a:ext>
            </a:extLst>
          </p:cNvPr>
          <p:cNvSpPr txBox="1"/>
          <p:nvPr/>
        </p:nvSpPr>
        <p:spPr>
          <a:xfrm>
            <a:off x="1990301" y="1903471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ervicequalität &amp; Preis/Leistung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650904BE-AA6F-4CA0-BC68-1C5C8F7BD41E}"/>
              </a:ext>
            </a:extLst>
          </p:cNvPr>
          <p:cNvSpPr txBox="1"/>
          <p:nvPr/>
        </p:nvSpPr>
        <p:spPr>
          <a:xfrm>
            <a:off x="3742573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ailFit20/30 un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SBBagil2020</a:t>
            </a: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5EA5E8B2-838E-48ED-8960-F5C24D068A58}"/>
              </a:ext>
            </a:extLst>
          </p:cNvPr>
          <p:cNvSpPr txBox="1"/>
          <p:nvPr/>
        </p:nvSpPr>
        <p:spPr>
          <a:xfrm>
            <a:off x="7271524" y="1903471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Geschäfts-prozesse@SBB</a:t>
            </a: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F3B4B050-85B5-4747-BE66-7CADF3BE41DB}"/>
              </a:ext>
            </a:extLst>
          </p:cNvPr>
          <p:cNvSpPr txBox="1"/>
          <p:nvPr/>
        </p:nvSpPr>
        <p:spPr>
          <a:xfrm>
            <a:off x="1982860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Business </a:t>
            </a:r>
            <a:b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</a:b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Development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16EA7B7B-14C9-434A-879E-904AA3E6A6D2}"/>
              </a:ext>
            </a:extLst>
          </p:cNvPr>
          <p:cNvSpPr txBox="1"/>
          <p:nvPr/>
        </p:nvSpPr>
        <p:spPr>
          <a:xfrm>
            <a:off x="219972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Unterhalten &amp; Bauen unter Betrieb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37A659BF-BEA8-4A1B-AE5B-7A73BBA8589F}"/>
              </a:ext>
            </a:extLst>
          </p:cNvPr>
          <p:cNvSpPr txBox="1"/>
          <p:nvPr/>
        </p:nvSpPr>
        <p:spPr>
          <a:xfrm>
            <a:off x="5303533" y="2874077"/>
            <a:ext cx="3840467" cy="496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srgbClr val="EB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MPO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286BA39A-5055-49BB-A3A5-4871849852B1}"/>
              </a:ext>
            </a:extLst>
          </p:cNvPr>
          <p:cNvSpPr txBox="1"/>
          <p:nvPr/>
        </p:nvSpPr>
        <p:spPr>
          <a:xfrm>
            <a:off x="6848" y="2868829"/>
            <a:ext cx="3870508" cy="496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srgbClr val="EB0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VERTRAUEN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B26D4569-8A4A-42B4-9111-E2A90EE7280D}"/>
              </a:ext>
            </a:extLst>
          </p:cNvPr>
          <p:cNvSpPr txBox="1"/>
          <p:nvPr/>
        </p:nvSpPr>
        <p:spPr>
          <a:xfrm>
            <a:off x="2233" y="2544633"/>
            <a:ext cx="3870508" cy="496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AHN IM GRIFF</a:t>
            </a: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519E3487-53EE-492C-AED7-4040D3FBEC60}"/>
              </a:ext>
            </a:extLst>
          </p:cNvPr>
          <p:cNvSpPr/>
          <p:nvPr/>
        </p:nvSpPr>
        <p:spPr>
          <a:xfrm>
            <a:off x="4690187" y="2612050"/>
            <a:ext cx="541802" cy="638009"/>
          </a:xfrm>
          <a:prstGeom prst="chevron">
            <a:avLst>
              <a:gd name="adj" fmla="val 61413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Pfeil: Chevron 65">
            <a:extLst>
              <a:ext uri="{FF2B5EF4-FFF2-40B4-BE49-F238E27FC236}">
                <a16:creationId xmlns:a16="http://schemas.microsoft.com/office/drawing/2014/main" id="{8D3BB9A9-67C2-4845-ADFF-D874C915A991}"/>
              </a:ext>
            </a:extLst>
          </p:cNvPr>
          <p:cNvSpPr/>
          <p:nvPr/>
        </p:nvSpPr>
        <p:spPr>
          <a:xfrm flipH="1">
            <a:off x="3912012" y="2611115"/>
            <a:ext cx="541802" cy="638009"/>
          </a:xfrm>
          <a:prstGeom prst="chevron">
            <a:avLst>
              <a:gd name="adj" fmla="val 61413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8C40743D-D85E-4929-94CD-00A7C0D51770}"/>
              </a:ext>
            </a:extLst>
          </p:cNvPr>
          <p:cNvSpPr/>
          <p:nvPr/>
        </p:nvSpPr>
        <p:spPr>
          <a:xfrm rot="16200000">
            <a:off x="4245360" y="2858767"/>
            <a:ext cx="637074" cy="14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3A762C87-7BCC-4953-BDD2-99E836735CE3}"/>
              </a:ext>
            </a:extLst>
          </p:cNvPr>
          <p:cNvSpPr/>
          <p:nvPr/>
        </p:nvSpPr>
        <p:spPr>
          <a:xfrm>
            <a:off x="4253464" y="2858299"/>
            <a:ext cx="637074" cy="1436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A87303D6-0F13-4193-8631-616D28668CDD}"/>
              </a:ext>
            </a:extLst>
          </p:cNvPr>
          <p:cNvSpPr/>
          <p:nvPr/>
        </p:nvSpPr>
        <p:spPr>
          <a:xfrm>
            <a:off x="4890538" y="2858299"/>
            <a:ext cx="185518" cy="1436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7ABAAE3A-D295-4C5E-B737-17DFE888D176}"/>
              </a:ext>
            </a:extLst>
          </p:cNvPr>
          <p:cNvSpPr/>
          <p:nvPr/>
        </p:nvSpPr>
        <p:spPr>
          <a:xfrm>
            <a:off x="4067946" y="2858299"/>
            <a:ext cx="185518" cy="14364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2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4969D5D9-DC74-41D3-985A-14E84DBFA623}"/>
              </a:ext>
            </a:extLst>
          </p:cNvPr>
          <p:cNvCxnSpPr>
            <a:cxnSpLocks/>
            <a:endCxn id="66" idx="3"/>
          </p:cNvCxnSpPr>
          <p:nvPr/>
        </p:nvCxnSpPr>
        <p:spPr>
          <a:xfrm>
            <a:off x="0" y="2930119"/>
            <a:ext cx="3912012" cy="1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D1CDE1C4-BFCB-41D8-AE24-ACC3BA3C7422}"/>
              </a:ext>
            </a:extLst>
          </p:cNvPr>
          <p:cNvCxnSpPr>
            <a:cxnSpLocks/>
            <a:endCxn id="7" idx="3"/>
          </p:cNvCxnSpPr>
          <p:nvPr/>
        </p:nvCxnSpPr>
        <p:spPr>
          <a:xfrm flipH="1">
            <a:off x="5231989" y="2930119"/>
            <a:ext cx="3912011" cy="936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feld 62">
            <a:extLst>
              <a:ext uri="{FF2B5EF4-FFF2-40B4-BE49-F238E27FC236}">
                <a16:creationId xmlns:a16="http://schemas.microsoft.com/office/drawing/2014/main" id="{B048A25E-2053-4434-9D9F-CBB3DE5F99CB}"/>
              </a:ext>
            </a:extLst>
          </p:cNvPr>
          <p:cNvSpPr txBox="1"/>
          <p:nvPr/>
        </p:nvSpPr>
        <p:spPr>
          <a:xfrm>
            <a:off x="5303533" y="2539504"/>
            <a:ext cx="3840467" cy="496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ZUKUNFT GESTALTEN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C881D6D3-E407-4AD2-8D2B-32AB134B988A}"/>
              </a:ext>
            </a:extLst>
          </p:cNvPr>
          <p:cNvSpPr txBox="1"/>
          <p:nvPr/>
        </p:nvSpPr>
        <p:spPr>
          <a:xfrm>
            <a:off x="7267411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Kulturelle Transformation</a:t>
            </a:r>
          </a:p>
        </p:txBody>
      </p:sp>
      <p:pic>
        <p:nvPicPr>
          <p:cNvPr id="71" name="Picture 5">
            <a:extLst>
              <a:ext uri="{FF2B5EF4-FFF2-40B4-BE49-F238E27FC236}">
                <a16:creationId xmlns:a16="http://schemas.microsoft.com/office/drawing/2014/main" id="{B3A355EA-DEC2-4914-89D5-E94487407EE7}"/>
              </a:ext>
            </a:extLst>
          </p:cNvPr>
          <p:cNvPicPr preferRelativeResize="0">
            <a:picLocks noChangeArrowheads="1"/>
          </p:cNvPicPr>
          <p:nvPr>
            <p:custDataLst>
              <p:tags r:id="rId3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300" y="5597748"/>
            <a:ext cx="900113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6">
            <a:extLst>
              <a:ext uri="{FF2B5EF4-FFF2-40B4-BE49-F238E27FC236}">
                <a16:creationId xmlns:a16="http://schemas.microsoft.com/office/drawing/2014/main" id="{9F4DC315-6C52-4448-BAC4-6B7133AC4E25}"/>
              </a:ext>
            </a:extLst>
          </p:cNvPr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800" y="5597748"/>
            <a:ext cx="900113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7">
            <a:extLst>
              <a:ext uri="{FF2B5EF4-FFF2-40B4-BE49-F238E27FC236}">
                <a16:creationId xmlns:a16="http://schemas.microsoft.com/office/drawing/2014/main" id="{E3925FE6-0559-4D29-BBD2-9D31AE042D34}"/>
              </a:ext>
            </a:extLst>
          </p:cNvPr>
          <p:cNvPicPr preferRelativeResize="0">
            <a:picLocks noChangeArrowheads="1"/>
          </p:cNvPicPr>
          <p:nvPr>
            <p:custDataLst>
              <p:tags r:id="rId5"/>
            </p:custDataLst>
          </p:nvPr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424" y="5597748"/>
            <a:ext cx="900112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8">
            <a:extLst>
              <a:ext uri="{FF2B5EF4-FFF2-40B4-BE49-F238E27FC236}">
                <a16:creationId xmlns:a16="http://schemas.microsoft.com/office/drawing/2014/main" id="{B68D346F-14D7-44B3-AE15-884362A9AFCE}"/>
              </a:ext>
            </a:extLst>
          </p:cNvPr>
          <p:cNvPicPr preferRelativeResize="0">
            <a:picLocks noChangeArrowheads="1"/>
          </p:cNvPicPr>
          <p:nvPr>
            <p:custDataLst>
              <p:tags r:id="rId6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6414" y="5597748"/>
            <a:ext cx="898525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9">
            <a:extLst>
              <a:ext uri="{FF2B5EF4-FFF2-40B4-BE49-F238E27FC236}">
                <a16:creationId xmlns:a16="http://schemas.microsoft.com/office/drawing/2014/main" id="{0FEC25C4-7F4B-44C2-B93D-79C0C2CE0699}"/>
              </a:ext>
            </a:extLst>
          </p:cNvPr>
          <p:cNvPicPr preferRelativeResize="0">
            <a:picLocks noChangeArrowheads="1"/>
          </p:cNvPicPr>
          <p:nvPr>
            <p:custDataLst>
              <p:tags r:id="rId7"/>
            </p:custDataLst>
          </p:nvPr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6325" y="5597748"/>
            <a:ext cx="900113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0">
            <a:extLst>
              <a:ext uri="{FF2B5EF4-FFF2-40B4-BE49-F238E27FC236}">
                <a16:creationId xmlns:a16="http://schemas.microsoft.com/office/drawing/2014/main" id="{270A1BB1-42FE-437C-B1D4-DCC8C4BBE769}"/>
              </a:ext>
            </a:extLst>
          </p:cNvPr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39967" y="5597748"/>
            <a:ext cx="898525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1">
            <a:extLst>
              <a:ext uri="{FF2B5EF4-FFF2-40B4-BE49-F238E27FC236}">
                <a16:creationId xmlns:a16="http://schemas.microsoft.com/office/drawing/2014/main" id="{93004CCC-14B0-4BDF-A364-07860E14D175}"/>
              </a:ext>
            </a:extLst>
          </p:cNvPr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114345" y="5597748"/>
            <a:ext cx="898525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2">
            <a:extLst>
              <a:ext uri="{FF2B5EF4-FFF2-40B4-BE49-F238E27FC236}">
                <a16:creationId xmlns:a16="http://schemas.microsoft.com/office/drawing/2014/main" id="{FC17674F-DF95-4CD8-9956-5B1B40C77100}"/>
              </a:ext>
            </a:extLst>
          </p:cNvPr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77956" y="5597748"/>
            <a:ext cx="896943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3">
            <a:extLst>
              <a:ext uri="{FF2B5EF4-FFF2-40B4-BE49-F238E27FC236}">
                <a16:creationId xmlns:a16="http://schemas.microsoft.com/office/drawing/2014/main" id="{F972FC4C-77E6-4702-815E-2D704699603C}"/>
              </a:ext>
            </a:extLst>
          </p:cNvPr>
          <p:cNvPicPr>
            <a:picLocks noChangeArrowheads="1"/>
          </p:cNvPicPr>
          <p:nvPr>
            <p:custDataLst>
              <p:tags r:id="rId11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9924" y="5597748"/>
            <a:ext cx="900112" cy="898525"/>
          </a:xfrm>
          <a:prstGeom prst="rect">
            <a:avLst/>
          </a:prstGeom>
          <a:noFill/>
          <a:ln w="317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Rechteck 87">
            <a:extLst>
              <a:ext uri="{FF2B5EF4-FFF2-40B4-BE49-F238E27FC236}">
                <a16:creationId xmlns:a16="http://schemas.microsoft.com/office/drawing/2014/main" id="{A4E170DF-FE8A-4C21-8602-0762D9E6175F}"/>
              </a:ext>
            </a:extLst>
          </p:cNvPr>
          <p:cNvSpPr/>
          <p:nvPr/>
        </p:nvSpPr>
        <p:spPr>
          <a:xfrm>
            <a:off x="224300" y="5597748"/>
            <a:ext cx="8604236" cy="91515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Rechteck 124">
            <a:extLst>
              <a:ext uri="{FF2B5EF4-FFF2-40B4-BE49-F238E27FC236}">
                <a16:creationId xmlns:a16="http://schemas.microsoft.com/office/drawing/2014/main" id="{E9788C87-BABD-4124-8840-237CB3EACB92}"/>
              </a:ext>
            </a:extLst>
          </p:cNvPr>
          <p:cNvSpPr/>
          <p:nvPr/>
        </p:nvSpPr>
        <p:spPr>
          <a:xfrm>
            <a:off x="7267411" y="3446163"/>
            <a:ext cx="1548000" cy="1442742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Fit4futur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Bahn-Know-how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rfolgsformel</a:t>
            </a:r>
          </a:p>
        </p:txBody>
      </p:sp>
      <p:sp>
        <p:nvSpPr>
          <p:cNvPr id="126" name="Rechteck 125">
            <a:extLst>
              <a:ext uri="{FF2B5EF4-FFF2-40B4-BE49-F238E27FC236}">
                <a16:creationId xmlns:a16="http://schemas.microsoft.com/office/drawing/2014/main" id="{00903506-01B2-4FEC-8D75-592648952737}"/>
              </a:ext>
            </a:extLst>
          </p:cNvPr>
          <p:cNvSpPr/>
          <p:nvPr/>
        </p:nvSpPr>
        <p:spPr>
          <a:xfrm>
            <a:off x="216347" y="3445477"/>
            <a:ext cx="1539517" cy="1443428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éman</a:t>
            </a: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2030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BN CEVA/LEX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LV 21-24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Ceneri 2020</a:t>
            </a:r>
          </a:p>
        </p:txBody>
      </p:sp>
      <p:sp>
        <p:nvSpPr>
          <p:cNvPr id="127" name="Rechteck 126">
            <a:extLst>
              <a:ext uri="{FF2B5EF4-FFF2-40B4-BE49-F238E27FC236}">
                <a16:creationId xmlns:a16="http://schemas.microsoft.com/office/drawing/2014/main" id="{E4A0036B-F91F-4A7C-B371-E8CFEAD94B1B}"/>
              </a:ext>
            </a:extLst>
          </p:cNvPr>
          <p:cNvSpPr/>
          <p:nvPr/>
        </p:nvSpPr>
        <p:spPr>
          <a:xfrm>
            <a:off x="1976112" y="3447534"/>
            <a:ext cx="1548000" cy="1441371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martRail</a:t>
            </a: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 4.0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wiss.Smart</a:t>
            </a: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.</a:t>
            </a:r>
            <a:b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Mobility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mart City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BIM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Neue Mobilitäts-dienstleistungen</a:t>
            </a: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78330200-3DF5-4264-A561-D5E18CD5292C}"/>
              </a:ext>
            </a:extLst>
          </p:cNvPr>
          <p:cNvSpPr/>
          <p:nvPr/>
        </p:nvSpPr>
        <p:spPr>
          <a:xfrm>
            <a:off x="94596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58" name="Rechteck: abgerundete Ecken 57">
            <a:extLst>
              <a:ext uri="{FF2B5EF4-FFF2-40B4-BE49-F238E27FC236}">
                <a16:creationId xmlns:a16="http://schemas.microsoft.com/office/drawing/2014/main" id="{A0557EF3-247F-4E2E-B6DD-4ED1654F356F}"/>
              </a:ext>
            </a:extLst>
          </p:cNvPr>
          <p:cNvSpPr/>
          <p:nvPr/>
        </p:nvSpPr>
        <p:spPr>
          <a:xfrm>
            <a:off x="1856797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3A99B118-211A-43F3-AEC7-8194192AAE0E}"/>
              </a:ext>
            </a:extLst>
          </p:cNvPr>
          <p:cNvSpPr/>
          <p:nvPr/>
        </p:nvSpPr>
        <p:spPr>
          <a:xfrm>
            <a:off x="7143400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65" name="Rechteck: abgerundete Ecken 64">
            <a:extLst>
              <a:ext uri="{FF2B5EF4-FFF2-40B4-BE49-F238E27FC236}">
                <a16:creationId xmlns:a16="http://schemas.microsoft.com/office/drawing/2014/main" id="{5259A121-EF5E-4AFA-B121-D38927EDE5DB}"/>
              </a:ext>
            </a:extLst>
          </p:cNvPr>
          <p:cNvSpPr/>
          <p:nvPr/>
        </p:nvSpPr>
        <p:spPr>
          <a:xfrm>
            <a:off x="98300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67" name="Rechteck: abgerundete Ecken 66">
            <a:extLst>
              <a:ext uri="{FF2B5EF4-FFF2-40B4-BE49-F238E27FC236}">
                <a16:creationId xmlns:a16="http://schemas.microsoft.com/office/drawing/2014/main" id="{F86B50EB-8FFD-4CF3-A3B8-E214F14AB880}"/>
              </a:ext>
            </a:extLst>
          </p:cNvPr>
          <p:cNvSpPr/>
          <p:nvPr/>
        </p:nvSpPr>
        <p:spPr>
          <a:xfrm>
            <a:off x="1858050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</a:p>
        </p:txBody>
      </p:sp>
      <p:sp>
        <p:nvSpPr>
          <p:cNvPr id="70" name="Rechteck: abgerundete Ecken 69">
            <a:extLst>
              <a:ext uri="{FF2B5EF4-FFF2-40B4-BE49-F238E27FC236}">
                <a16:creationId xmlns:a16="http://schemas.microsoft.com/office/drawing/2014/main" id="{8679C32B-E80A-4E04-A402-3420A325EA4C}"/>
              </a:ext>
            </a:extLst>
          </p:cNvPr>
          <p:cNvSpPr/>
          <p:nvPr/>
        </p:nvSpPr>
        <p:spPr>
          <a:xfrm>
            <a:off x="7137299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D8D324C6-A121-4997-9230-D4B817F47C66}"/>
              </a:ext>
            </a:extLst>
          </p:cNvPr>
          <p:cNvSpPr/>
          <p:nvPr/>
        </p:nvSpPr>
        <p:spPr>
          <a:xfrm>
            <a:off x="7275773" y="448810"/>
            <a:ext cx="1548000" cy="1455235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olution Suisse (integrierte, effiziente Bahn)</a:t>
            </a:r>
          </a:p>
        </p:txBody>
      </p:sp>
      <p:sp>
        <p:nvSpPr>
          <p:cNvPr id="68" name="Rechteck: abgerundete Ecken 67">
            <a:extLst>
              <a:ext uri="{FF2B5EF4-FFF2-40B4-BE49-F238E27FC236}">
                <a16:creationId xmlns:a16="http://schemas.microsoft.com/office/drawing/2014/main" id="{CE38AADA-1E16-47B9-B562-28D68BB4D93B}"/>
              </a:ext>
            </a:extLst>
          </p:cNvPr>
          <p:cNvSpPr/>
          <p:nvPr/>
        </p:nvSpPr>
        <p:spPr>
          <a:xfrm>
            <a:off x="3617800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</a:t>
            </a:r>
          </a:p>
        </p:txBody>
      </p:sp>
      <p:sp>
        <p:nvSpPr>
          <p:cNvPr id="86" name="Foliennummernplatzhalter 3">
            <a:extLst>
              <a:ext uri="{FF2B5EF4-FFF2-40B4-BE49-F238E27FC236}">
                <a16:creationId xmlns:a16="http://schemas.microsoft.com/office/drawing/2014/main" id="{D523EE17-87E2-4FD4-B9D2-1CA5F068749B}"/>
              </a:ext>
            </a:extLst>
          </p:cNvPr>
          <p:cNvSpPr txBox="1">
            <a:spLocks/>
          </p:cNvSpPr>
          <p:nvPr/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115662-413A-4888-B9BC-797CDE14544F}" type="slidenum">
              <a:rPr kumimoji="0" lang="de-CH" sz="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CH" sz="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421E4F19-76B7-48B4-960D-65E51D871950}"/>
              </a:ext>
            </a:extLst>
          </p:cNvPr>
          <p:cNvSpPr txBox="1"/>
          <p:nvPr/>
        </p:nvSpPr>
        <p:spPr>
          <a:xfrm>
            <a:off x="6419433" y="6606984"/>
            <a:ext cx="2184850" cy="145656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rmAutofit fontScale="925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K </a:t>
            </a:r>
            <a:r>
              <a:rPr kumimoji="0" lang="de-CH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riesalp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| SBB | CEO-Office | 11./12.01.2019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B58DB0E2-B982-408E-9729-1A7D3C9E46D8}"/>
              </a:ext>
            </a:extLst>
          </p:cNvPr>
          <p:cNvSpPr/>
          <p:nvPr/>
        </p:nvSpPr>
        <p:spPr>
          <a:xfrm>
            <a:off x="3748637" y="3447534"/>
            <a:ext cx="1548000" cy="1441371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chlanke Zentralen</a:t>
            </a:r>
          </a:p>
        </p:txBody>
      </p:sp>
      <p:sp>
        <p:nvSpPr>
          <p:cNvPr id="119" name="Rechteck 118">
            <a:extLst>
              <a:ext uri="{FF2B5EF4-FFF2-40B4-BE49-F238E27FC236}">
                <a16:creationId xmlns:a16="http://schemas.microsoft.com/office/drawing/2014/main" id="{6397801B-A5B4-4088-B140-A71A1BF77FEB}"/>
              </a:ext>
            </a:extLst>
          </p:cNvPr>
          <p:cNvSpPr/>
          <p:nvPr/>
        </p:nvSpPr>
        <p:spPr>
          <a:xfrm>
            <a:off x="1980816" y="460683"/>
            <a:ext cx="1548000" cy="1443362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Auslastung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ntschädigunge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Kundeninformatio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ervice am Platz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Reservations-möglichkeit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Sparbillette</a:t>
            </a: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9F1E5C39-6D8B-4F52-8995-FB951571E260}"/>
              </a:ext>
            </a:extLst>
          </p:cNvPr>
          <p:cNvSpPr/>
          <p:nvPr/>
        </p:nvSpPr>
        <p:spPr>
          <a:xfrm>
            <a:off x="217203" y="460683"/>
            <a:ext cx="1548000" cy="1443362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ETR 610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FV-</a:t>
            </a: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Dosto</a:t>
            </a:r>
            <a:endParaRPr kumimoji="0" lang="de-CH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Inhaltsplatzhalter 4">
            <a:extLst>
              <a:ext uri="{FF2B5EF4-FFF2-40B4-BE49-F238E27FC236}">
                <a16:creationId xmlns:a16="http://schemas.microsoft.com/office/drawing/2014/main" id="{8D26E383-A121-4DA2-90CB-0744524C33C2}"/>
              </a:ext>
            </a:extLst>
          </p:cNvPr>
          <p:cNvSpPr txBox="1">
            <a:spLocks/>
          </p:cNvSpPr>
          <p:nvPr/>
        </p:nvSpPr>
        <p:spPr>
          <a:xfrm>
            <a:off x="217194" y="188557"/>
            <a:ext cx="2338582" cy="418492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  <a:extLst/>
        </p:spPr>
        <p:txBody>
          <a:bodyPr vert="horz" wrap="square" lIns="108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genda 2019.</a:t>
            </a:r>
          </a:p>
        </p:txBody>
      </p:sp>
      <p:pic>
        <p:nvPicPr>
          <p:cNvPr id="92" name="Grafik 91">
            <a:extLst>
              <a:ext uri="{FF2B5EF4-FFF2-40B4-BE49-F238E27FC236}">
                <a16:creationId xmlns:a16="http://schemas.microsoft.com/office/drawing/2014/main" id="{BEF5827C-D4CF-4DEA-B51D-84C920E4B8FD}"/>
              </a:ext>
            </a:extLst>
          </p:cNvPr>
          <p:cNvPicPr>
            <a:picLocks noChangeAspect="1"/>
          </p:cNvPicPr>
          <p:nvPr/>
        </p:nvPicPr>
        <p:blipFill rotWithShape="1"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07942" y="3448906"/>
            <a:ext cx="1548000" cy="1980000"/>
          </a:xfrm>
          <a:prstGeom prst="rect">
            <a:avLst/>
          </a:prstGeom>
        </p:spPr>
      </p:pic>
      <p:pic>
        <p:nvPicPr>
          <p:cNvPr id="98" name="Grafik 97">
            <a:extLst>
              <a:ext uri="{FF2B5EF4-FFF2-40B4-BE49-F238E27FC236}">
                <a16:creationId xmlns:a16="http://schemas.microsoft.com/office/drawing/2014/main" id="{281F8F38-4FC7-4803-89AC-06B5541D868F}"/>
              </a:ext>
            </a:extLst>
          </p:cNvPr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5512961" y="463471"/>
            <a:ext cx="1548000" cy="1980000"/>
          </a:xfrm>
          <a:prstGeom prst="rect">
            <a:avLst/>
          </a:prstGeom>
        </p:spPr>
      </p:pic>
      <p:sp>
        <p:nvSpPr>
          <p:cNvPr id="41" name="Textfeld 40">
            <a:extLst>
              <a:ext uri="{FF2B5EF4-FFF2-40B4-BE49-F238E27FC236}">
                <a16:creationId xmlns:a16="http://schemas.microsoft.com/office/drawing/2014/main" id="{EE869110-8618-4553-B2E5-2D5AA6EA4862}"/>
              </a:ext>
            </a:extLst>
          </p:cNvPr>
          <p:cNvSpPr txBox="1"/>
          <p:nvPr/>
        </p:nvSpPr>
        <p:spPr>
          <a:xfrm>
            <a:off x="3733404" y="1903471"/>
            <a:ext cx="1563974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egionale Verankerung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2A519ED6-B6ED-44B8-AD62-145757FDB287}"/>
              </a:ext>
            </a:extLst>
          </p:cNvPr>
          <p:cNvSpPr txBox="1"/>
          <p:nvPr/>
        </p:nvSpPr>
        <p:spPr>
          <a:xfrm>
            <a:off x="5507942" y="1903471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artnerstrategie Cargo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55F6C19A-EAD9-4DD5-B02D-084E6EF9A227}"/>
              </a:ext>
            </a:extLst>
          </p:cNvPr>
          <p:cNvSpPr txBox="1"/>
          <p:nvPr/>
        </p:nvSpPr>
        <p:spPr>
          <a:xfrm>
            <a:off x="5508636" y="4888906"/>
            <a:ext cx="1548000" cy="540000"/>
          </a:xfrm>
          <a:prstGeom prst="rect">
            <a:avLst/>
          </a:prstGeom>
          <a:solidFill>
            <a:srgbClr val="4C4C4C">
              <a:alpha val="80000"/>
            </a:srgbClr>
          </a:solidFill>
          <a:ln>
            <a:noFill/>
          </a:ln>
        </p:spPr>
        <p:txBody>
          <a:bodyPr vert="horz" wrap="square" lIns="36000" tIns="0" rIns="0" bIns="0" rtlCol="0" anchor="ctr" anchorCtr="0">
            <a:noAutofit/>
          </a:bodyPr>
          <a:lstStyle>
            <a:defPPr>
              <a:defRPr lang="de-CH"/>
            </a:defPPr>
            <a:lvl1pPr marL="0" indent="0" defTabSz="91440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0000"/>
              </a:buClr>
              <a:buSzPct val="80000"/>
              <a:buFont typeface="Wingdings 3" pitchFamily="18" charset="2"/>
              <a:buNone/>
              <a:defRPr sz="1000" b="1">
                <a:solidFill>
                  <a:prstClr val="white"/>
                </a:solidFill>
                <a:latin typeface="Arial"/>
                <a:cs typeface="Arial" charset="0"/>
              </a:defRPr>
            </a:lvl1pPr>
            <a:lvl2pPr marL="576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 typeface="Arial" pitchFamily="34" charset="0"/>
              <a:buChar char="▪"/>
              <a:defRPr sz="1400">
                <a:latin typeface="Arial" pitchFamily="34" charset="0"/>
                <a:cs typeface="Arial" pitchFamily="34" charset="0"/>
              </a:defRPr>
            </a:lvl2pPr>
            <a:lvl3pPr marL="864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chemeClr val="tx1"/>
              </a:buClr>
              <a:buSzPct val="90000"/>
              <a:buFont typeface="Symbol" pitchFamily="18" charset="2"/>
              <a:buChar char="-"/>
              <a:defRPr sz="1400">
                <a:latin typeface="Arial" pitchFamily="34" charset="0"/>
                <a:cs typeface="Arial" pitchFamily="34" charset="0"/>
              </a:defRPr>
            </a:lvl3pPr>
            <a:lvl4pPr marL="144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4pPr>
            <a:lvl5pPr marL="1800000" indent="-288000" defTabSz="914400" eaLnBrk="1" latinLnBrk="0" hangingPunct="1">
              <a:lnSpc>
                <a:spcPts val="2500"/>
              </a:lnSpc>
              <a:spcBef>
                <a:spcPts val="1000"/>
              </a:spcBef>
              <a:buClr>
                <a:srgbClr val="2D327D"/>
              </a:buClr>
              <a:buSzPct val="90000"/>
              <a:buFontTx/>
              <a:buNone/>
              <a:defRPr sz="1400">
                <a:latin typeface="Arial" pitchFamily="34" charset="0"/>
                <a:cs typeface="Arial" pitchFamily="34" charset="0"/>
              </a:defRPr>
            </a:lvl5pPr>
            <a:lvl6pPr marL="0" indent="0">
              <a:spcBef>
                <a:spcPct val="20000"/>
              </a:spcBef>
              <a:buFont typeface="Wingdings" panose="05000000000000000000" pitchFamily="2" charset="2"/>
              <a:buNone/>
              <a:defRPr sz="1400">
                <a:latin typeface="+mn-lt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0000"/>
              </a:buClr>
              <a:buSzPct val="80000"/>
              <a:buFont typeface="Wingdings 3" pitchFamily="18" charset="2"/>
              <a:buNone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Langfristige </a:t>
            </a:r>
            <a:r>
              <a:rPr kumimoji="0" lang="de-CH" sz="11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Inte-grierte</a:t>
            </a: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Mobilitäts- &amp; Arealentwicklung</a:t>
            </a:r>
          </a:p>
        </p:txBody>
      </p:sp>
      <p:sp>
        <p:nvSpPr>
          <p:cNvPr id="124" name="Rechteck 123">
            <a:extLst>
              <a:ext uri="{FF2B5EF4-FFF2-40B4-BE49-F238E27FC236}">
                <a16:creationId xmlns:a16="http://schemas.microsoft.com/office/drawing/2014/main" id="{7BB6D9BA-9006-40F5-B7FD-DE288E3DEE41}"/>
              </a:ext>
            </a:extLst>
          </p:cNvPr>
          <p:cNvSpPr/>
          <p:nvPr/>
        </p:nvSpPr>
        <p:spPr>
          <a:xfrm>
            <a:off x="5526777" y="460683"/>
            <a:ext cx="1548000" cy="1443362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Performance Programm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Zusammenarbeit</a:t>
            </a:r>
          </a:p>
        </p:txBody>
      </p:sp>
      <p:sp>
        <p:nvSpPr>
          <p:cNvPr id="128" name="Rechteck 127">
            <a:extLst>
              <a:ext uri="{FF2B5EF4-FFF2-40B4-BE49-F238E27FC236}">
                <a16:creationId xmlns:a16="http://schemas.microsoft.com/office/drawing/2014/main" id="{F53A63FE-0563-4565-B194-6865C99CD09B}"/>
              </a:ext>
            </a:extLst>
          </p:cNvPr>
          <p:cNvSpPr/>
          <p:nvPr/>
        </p:nvSpPr>
        <p:spPr>
          <a:xfrm>
            <a:off x="5516167" y="3447534"/>
            <a:ext cx="1548000" cy="1441371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Mobilität 2060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AS 2030/35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Gesamt-perspektive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de-CH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/>
              <a:ea typeface="+mn-ea"/>
              <a:cs typeface="+mn-cs"/>
            </a:endParaRP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IW Bellinzona</a:t>
            </a:r>
          </a:p>
        </p:txBody>
      </p:sp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885DC3B5-BEA6-48EA-9B59-22B2AEFC15CB}"/>
              </a:ext>
            </a:extLst>
          </p:cNvPr>
          <p:cNvSpPr/>
          <p:nvPr/>
        </p:nvSpPr>
        <p:spPr>
          <a:xfrm>
            <a:off x="3618998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sp>
        <p:nvSpPr>
          <p:cNvPr id="61" name="Rechteck: abgerundete Ecken 60">
            <a:extLst>
              <a:ext uri="{FF2B5EF4-FFF2-40B4-BE49-F238E27FC236}">
                <a16:creationId xmlns:a16="http://schemas.microsoft.com/office/drawing/2014/main" id="{5E68B3D4-B115-4EA1-B510-C0DF25361860}"/>
              </a:ext>
            </a:extLst>
          </p:cNvPr>
          <p:cNvSpPr/>
          <p:nvPr/>
        </p:nvSpPr>
        <p:spPr>
          <a:xfrm>
            <a:off x="5381199" y="2314765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69" name="Rechteck: abgerundete Ecken 68">
            <a:extLst>
              <a:ext uri="{FF2B5EF4-FFF2-40B4-BE49-F238E27FC236}">
                <a16:creationId xmlns:a16="http://schemas.microsoft.com/office/drawing/2014/main" id="{883BD299-55A9-4D9A-ABC2-94A09A543A8A}"/>
              </a:ext>
            </a:extLst>
          </p:cNvPr>
          <p:cNvSpPr/>
          <p:nvPr/>
        </p:nvSpPr>
        <p:spPr>
          <a:xfrm>
            <a:off x="5377550" y="5282181"/>
            <a:ext cx="252000" cy="252000"/>
          </a:xfrm>
          <a:prstGeom prst="roundRect">
            <a:avLst>
              <a:gd name="adj" fmla="val 8824"/>
            </a:avLst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D5C81BDD-2B7B-4D65-BBC6-F5C1CC7F814A}"/>
              </a:ext>
            </a:extLst>
          </p:cNvPr>
          <p:cNvSpPr/>
          <p:nvPr/>
        </p:nvSpPr>
        <p:spPr>
          <a:xfrm>
            <a:off x="3733403" y="457312"/>
            <a:ext cx="1563975" cy="1446733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72000" rtlCol="0" anchor="b" anchorCtr="0">
            <a:norm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Angebots-vermarktung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de-CH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Beitrag zu Anlässen &amp; Tourismus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C905148-C254-4BF4-AD5B-42621AF79CEA}"/>
              </a:ext>
            </a:extLst>
          </p:cNvPr>
          <p:cNvPicPr>
            <a:picLocks noChangeAspect="1"/>
          </p:cNvPicPr>
          <p:nvPr/>
        </p:nvPicPr>
        <p:blipFill rotWithShape="1">
          <a:blip r:embed="rId34" cstate="print">
            <a:extLst>
              <a:ext uri="{BEBA8EAE-BF5A-486C-A8C5-ECC9F3942E4B}">
                <a14:imgProps xmlns:a14="http://schemas.microsoft.com/office/drawing/2010/main">
                  <a14:imgLayer r:embed="rId35">
                    <a14:imgEffect>
                      <a14:backgroundRemoval t="6723" b="91597" l="5000" r="91000">
                        <a14:foregroundMark x1="9000" y1="11765" x2="15000" y2="56303"/>
                        <a14:foregroundMark x1="15000" y1="56303" x2="43000" y2="93277"/>
                        <a14:foregroundMark x1="43000" y1="93277" x2="85000" y2="68908"/>
                        <a14:foregroundMark x1="85000" y1="68908" x2="92270" y2="33613"/>
                        <a14:foregroundMark x1="94000" y1="25210" x2="40000" y2="8403"/>
                        <a14:foregroundMark x1="40000" y1="8403" x2="6000" y2="8403"/>
                        <a14:foregroundMark x1="70000" y1="22689" x2="67000" y2="82353"/>
                        <a14:foregroundMark x1="43000" y1="91597" x2="55000" y2="91597"/>
                        <a14:foregroundMark x1="9000" y1="8403" x2="89000" y2="10084"/>
                        <a14:foregroundMark x1="44000" y1="7563" x2="91000" y2="8403"/>
                        <a14:foregroundMark x1="5000" y1="12605" x2="9000" y2="56303"/>
                        <a14:foregroundMark x1="9000" y1="56303" x2="5000" y2="62185"/>
                        <a14:backgroundMark x1="96000" y1="26891" x2="96000" y2="26891"/>
                        <a14:backgroundMark x1="95000" y1="25210" x2="95000" y2="25210"/>
                        <a14:backgroundMark x1="94000" y1="30252" x2="94000" y2="30252"/>
                        <a14:backgroundMark x1="95000" y1="27731" x2="95000" y2="27731"/>
                        <a14:backgroundMark x1="95000" y1="25210" x2="95000" y2="3361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673"/>
          <a:stretch/>
        </p:blipFill>
        <p:spPr>
          <a:xfrm>
            <a:off x="6075814" y="4405228"/>
            <a:ext cx="201585" cy="257039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62E265F8-16FB-4F5E-B528-3687A4BE9556}"/>
              </a:ext>
            </a:extLst>
          </p:cNvPr>
          <p:cNvPicPr>
            <a:picLocks noChangeAspect="1"/>
          </p:cNvPicPr>
          <p:nvPr/>
        </p:nvPicPr>
        <p:blipFill rotWithShape="1">
          <a:blip r:embed="rId36" cstate="print">
            <a:extLst>
              <a:ext uri="{BEBA8EAE-BF5A-486C-A8C5-ECC9F3942E4B}">
                <a14:imgProps xmlns:a14="http://schemas.microsoft.com/office/drawing/2010/main">
                  <a14:imgLayer r:embed="rId37">
                    <a14:imgEffect>
                      <a14:backgroundRemoval t="3077" b="89231" l="1887" r="94340">
                        <a14:foregroundMark x1="50943" y1="27692" x2="50943" y2="27692"/>
                        <a14:foregroundMark x1="60377" y1="44615" x2="60377" y2="44615"/>
                        <a14:foregroundMark x1="7547" y1="55385" x2="35849" y2="92308"/>
                        <a14:foregroundMark x1="35849" y1="92308" x2="88679" y2="80000"/>
                        <a14:foregroundMark x1="88679" y1="80000" x2="96226" y2="35385"/>
                        <a14:foregroundMark x1="96226" y1="35385" x2="60377" y2="9231"/>
                        <a14:foregroundMark x1="45283" y1="90769" x2="79245" y2="86154"/>
                        <a14:foregroundMark x1="15094" y1="63077" x2="43396" y2="23077"/>
                        <a14:foregroundMark x1="43396" y1="23077" x2="58491" y2="15385"/>
                        <a14:foregroundMark x1="14286" y1="13559" x2="14286" y2="13559"/>
                        <a14:backgroundMark x1="1887" y1="3077" x2="1887" y2="12308"/>
                        <a14:backgroundMark x1="66038" y1="0" x2="15094" y2="0"/>
                        <a14:backgroundMark x1="1887" y1="13559" x2="1887" y2="55385"/>
                        <a14:backgroundMark x1="1887" y1="10769" x2="1887" y2="13559"/>
                        <a14:backgroundMark x1="91837" y1="1695" x2="91837" y2="169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9121" y="4410777"/>
            <a:ext cx="201585" cy="245941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FDC46D58-0021-4934-8AFC-67BF3AD0C5CB}"/>
              </a:ext>
            </a:extLst>
          </p:cNvPr>
          <p:cNvPicPr>
            <a:picLocks noChangeAspect="1"/>
          </p:cNvPicPr>
          <p:nvPr/>
        </p:nvPicPr>
        <p:blipFill>
          <a:blip r:embed="rId38" cstate="print">
            <a:extLst>
              <a:ext uri="{BEBA8EAE-BF5A-486C-A8C5-ECC9F3942E4B}">
                <a14:imgProps xmlns:a14="http://schemas.microsoft.com/office/drawing/2010/main">
                  <a14:imgLayer r:embed="rId39">
                    <a14:imgEffect>
                      <a14:backgroundRemoval t="10000" b="90000" l="10000" r="90000">
                        <a14:foregroundMark x1="14286" y1="13333" x2="21905" y2="57500"/>
                        <a14:foregroundMark x1="21905" y1="57500" x2="49524" y2="86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45024" y="4410319"/>
            <a:ext cx="216000" cy="246857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09BDBD0-00A1-4028-8268-9F5C454E4BF3}"/>
              </a:ext>
            </a:extLst>
          </p:cNvPr>
          <p:cNvPicPr>
            <a:picLocks noChangeAspect="1"/>
          </p:cNvPicPr>
          <p:nvPr/>
        </p:nvPicPr>
        <p:blipFill>
          <a:blip r:embed="rId40" cstate="print">
            <a:extLst>
              <a:ext uri="{BEBA8EAE-BF5A-486C-A8C5-ECC9F3942E4B}">
                <a14:imgProps xmlns:a14="http://schemas.microsoft.com/office/drawing/2010/main">
                  <a14:imgLayer r:embed="rId41">
                    <a14:imgEffect>
                      <a14:backgroundRemoval t="5691" b="89431" l="9434" r="89623">
                        <a14:foregroundMark x1="11321" y1="5691" x2="89623" y2="7317"/>
                        <a14:foregroundMark x1="36792" y1="84553" x2="60377" y2="869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2738" y="4605499"/>
            <a:ext cx="223676" cy="259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5418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7000" r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Foliennummernplatzhalter 3">
            <a:extLst>
              <a:ext uri="{FF2B5EF4-FFF2-40B4-BE49-F238E27FC236}">
                <a16:creationId xmlns:a16="http://schemas.microsoft.com/office/drawing/2014/main" id="{ED5D0DEB-6B2F-4ACE-AC59-16DBEFB37D3A}"/>
              </a:ext>
            </a:extLst>
          </p:cNvPr>
          <p:cNvSpPr txBox="1">
            <a:spLocks/>
          </p:cNvSpPr>
          <p:nvPr/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600" b="1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115662-413A-4888-B9BC-797CDE14544F}" type="slidenum">
              <a:rPr kumimoji="0" lang="de-CH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CH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770BE4C2-B85B-4DF7-9814-C804EF8C17FE}"/>
              </a:ext>
            </a:extLst>
          </p:cNvPr>
          <p:cNvSpPr txBox="1"/>
          <p:nvPr/>
        </p:nvSpPr>
        <p:spPr>
          <a:xfrm>
            <a:off x="298028" y="98923"/>
            <a:ext cx="5328660" cy="704393"/>
          </a:xfrm>
          <a:prstGeom prst="rect">
            <a:avLst/>
          </a:prstGeom>
          <a:solidFill>
            <a:schemeClr val="bg2">
              <a:alpha val="70000"/>
            </a:schemeClr>
          </a:solidFill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ir verbinden die Schweiz und halten sie zusammen.</a:t>
            </a:r>
          </a:p>
        </p:txBody>
      </p:sp>
    </p:spTree>
    <p:extLst>
      <p:ext uri="{BB962C8B-B14F-4D97-AF65-F5344CB8AC3E}">
        <p14:creationId xmlns:p14="http://schemas.microsoft.com/office/powerpoint/2010/main" val="4217119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5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7000" r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>
            <a:extLst>
              <a:ext uri="{FF2B5EF4-FFF2-40B4-BE49-F238E27FC236}">
                <a16:creationId xmlns:a16="http://schemas.microsoft.com/office/drawing/2014/main" id="{D9A9B3B6-3028-4660-8480-84E7EA9609F3}"/>
              </a:ext>
            </a:extLst>
          </p:cNvPr>
          <p:cNvSpPr/>
          <p:nvPr/>
        </p:nvSpPr>
        <p:spPr>
          <a:xfrm>
            <a:off x="3665728" y="1792837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FC479FFF-D651-4CCB-84BA-B306D969D71E}"/>
              </a:ext>
            </a:extLst>
          </p:cNvPr>
          <p:cNvSpPr txBox="1"/>
          <p:nvPr/>
        </p:nvSpPr>
        <p:spPr>
          <a:xfrm>
            <a:off x="261804" y="131402"/>
            <a:ext cx="5328660" cy="704393"/>
          </a:xfrm>
          <a:prstGeom prst="rect">
            <a:avLst/>
          </a:prstGeom>
          <a:solidFill>
            <a:schemeClr val="bg2">
              <a:alpha val="70000"/>
            </a:schemeClr>
          </a:solidFill>
        </p:spPr>
        <p:txBody>
          <a:bodyPr wrap="square" lIns="72000" tIns="36000" rIns="72000" bIns="3600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1 Gesamtperspektiven für Lebensqualität </a:t>
            </a:r>
            <a:b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de-CH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und Wettbewerbsfähigkeit.</a:t>
            </a:r>
          </a:p>
        </p:txBody>
      </p:sp>
      <p:sp>
        <p:nvSpPr>
          <p:cNvPr id="65" name="Ellipse 64">
            <a:extLst>
              <a:ext uri="{FF2B5EF4-FFF2-40B4-BE49-F238E27FC236}">
                <a16:creationId xmlns:a16="http://schemas.microsoft.com/office/drawing/2014/main" id="{9F1346E5-0A40-446F-8A64-A7B8383F2847}"/>
              </a:ext>
            </a:extLst>
          </p:cNvPr>
          <p:cNvSpPr/>
          <p:nvPr/>
        </p:nvSpPr>
        <p:spPr>
          <a:xfrm>
            <a:off x="3770311" y="1882479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Ellipse 65">
            <a:extLst>
              <a:ext uri="{FF2B5EF4-FFF2-40B4-BE49-F238E27FC236}">
                <a16:creationId xmlns:a16="http://schemas.microsoft.com/office/drawing/2014/main" id="{5B93DAEA-9C4E-4EA6-ABDE-8579A9354878}"/>
              </a:ext>
            </a:extLst>
          </p:cNvPr>
          <p:cNvSpPr/>
          <p:nvPr/>
        </p:nvSpPr>
        <p:spPr>
          <a:xfrm>
            <a:off x="3569457" y="2682857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989E2E7A-2022-4591-9DD9-E29F9B28DFCC}"/>
              </a:ext>
            </a:extLst>
          </p:cNvPr>
          <p:cNvSpPr/>
          <p:nvPr/>
        </p:nvSpPr>
        <p:spPr>
          <a:xfrm>
            <a:off x="3677563" y="2792540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Ellipse 67">
            <a:extLst>
              <a:ext uri="{FF2B5EF4-FFF2-40B4-BE49-F238E27FC236}">
                <a16:creationId xmlns:a16="http://schemas.microsoft.com/office/drawing/2014/main" id="{C3818466-C452-4768-8E3E-30B5BB272554}"/>
              </a:ext>
            </a:extLst>
          </p:cNvPr>
          <p:cNvSpPr/>
          <p:nvPr/>
        </p:nvSpPr>
        <p:spPr>
          <a:xfrm>
            <a:off x="2190567" y="3710260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Ellipse 68">
            <a:extLst>
              <a:ext uri="{FF2B5EF4-FFF2-40B4-BE49-F238E27FC236}">
                <a16:creationId xmlns:a16="http://schemas.microsoft.com/office/drawing/2014/main" id="{3D3379F8-8AD9-48A0-9888-B5E817473989}"/>
              </a:ext>
            </a:extLst>
          </p:cNvPr>
          <p:cNvSpPr/>
          <p:nvPr/>
        </p:nvSpPr>
        <p:spPr>
          <a:xfrm>
            <a:off x="2293635" y="3805956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Ellipse 73">
            <a:extLst>
              <a:ext uri="{FF2B5EF4-FFF2-40B4-BE49-F238E27FC236}">
                <a16:creationId xmlns:a16="http://schemas.microsoft.com/office/drawing/2014/main" id="{E52DC4F2-4D0D-438F-A38A-98BEBAB5EF5B}"/>
              </a:ext>
            </a:extLst>
          </p:cNvPr>
          <p:cNvSpPr/>
          <p:nvPr/>
        </p:nvSpPr>
        <p:spPr>
          <a:xfrm>
            <a:off x="4865622" y="2778365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Ellipse 74">
            <a:extLst>
              <a:ext uri="{FF2B5EF4-FFF2-40B4-BE49-F238E27FC236}">
                <a16:creationId xmlns:a16="http://schemas.microsoft.com/office/drawing/2014/main" id="{A0C7A326-EF85-4A2B-9A97-AA8ED4FE8672}"/>
              </a:ext>
            </a:extLst>
          </p:cNvPr>
          <p:cNvSpPr/>
          <p:nvPr/>
        </p:nvSpPr>
        <p:spPr>
          <a:xfrm>
            <a:off x="4968690" y="2855155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Ellipse 76">
            <a:extLst>
              <a:ext uri="{FF2B5EF4-FFF2-40B4-BE49-F238E27FC236}">
                <a16:creationId xmlns:a16="http://schemas.microsoft.com/office/drawing/2014/main" id="{F61CB78F-6F0C-4879-9BE7-73C89868D790}"/>
              </a:ext>
            </a:extLst>
          </p:cNvPr>
          <p:cNvSpPr/>
          <p:nvPr/>
        </p:nvSpPr>
        <p:spPr>
          <a:xfrm>
            <a:off x="6268760" y="1803665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9" name="Ellipse 78">
            <a:extLst>
              <a:ext uri="{FF2B5EF4-FFF2-40B4-BE49-F238E27FC236}">
                <a16:creationId xmlns:a16="http://schemas.microsoft.com/office/drawing/2014/main" id="{B6877372-E743-48D6-9223-D5263BC1E6D5}"/>
              </a:ext>
            </a:extLst>
          </p:cNvPr>
          <p:cNvSpPr/>
          <p:nvPr/>
        </p:nvSpPr>
        <p:spPr>
          <a:xfrm>
            <a:off x="6375974" y="1902884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Ellipse 107">
            <a:extLst>
              <a:ext uri="{FF2B5EF4-FFF2-40B4-BE49-F238E27FC236}">
                <a16:creationId xmlns:a16="http://schemas.microsoft.com/office/drawing/2014/main" id="{EF245CDB-47F6-4A0F-9A1F-0D3079249C15}"/>
              </a:ext>
            </a:extLst>
          </p:cNvPr>
          <p:cNvSpPr/>
          <p:nvPr/>
        </p:nvSpPr>
        <p:spPr>
          <a:xfrm>
            <a:off x="5675026" y="4507148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Ellipse 108">
            <a:extLst>
              <a:ext uri="{FF2B5EF4-FFF2-40B4-BE49-F238E27FC236}">
                <a16:creationId xmlns:a16="http://schemas.microsoft.com/office/drawing/2014/main" id="{9896340E-27F7-46AE-A6BC-1740CE8E9838}"/>
              </a:ext>
            </a:extLst>
          </p:cNvPr>
          <p:cNvSpPr/>
          <p:nvPr/>
        </p:nvSpPr>
        <p:spPr>
          <a:xfrm>
            <a:off x="5777843" y="4614172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20533AFE-7606-418D-BE6C-46EC64FA2CAD}"/>
              </a:ext>
            </a:extLst>
          </p:cNvPr>
          <p:cNvCxnSpPr>
            <a:cxnSpLocks/>
            <a:stCxn id="75" idx="4"/>
          </p:cNvCxnSpPr>
          <p:nvPr/>
        </p:nvCxnSpPr>
        <p:spPr>
          <a:xfrm>
            <a:off x="5129309" y="3176393"/>
            <a:ext cx="0" cy="940714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Ellipse 58">
            <a:extLst>
              <a:ext uri="{FF2B5EF4-FFF2-40B4-BE49-F238E27FC236}">
                <a16:creationId xmlns:a16="http://schemas.microsoft.com/office/drawing/2014/main" id="{9368B553-8B58-4E2E-A07F-43DB6FE3AF24}"/>
              </a:ext>
            </a:extLst>
          </p:cNvPr>
          <p:cNvSpPr/>
          <p:nvPr/>
        </p:nvSpPr>
        <p:spPr>
          <a:xfrm>
            <a:off x="4939413" y="1901871"/>
            <a:ext cx="515443" cy="515443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1" name="Gerader Verbinder 60">
            <a:extLst>
              <a:ext uri="{FF2B5EF4-FFF2-40B4-BE49-F238E27FC236}">
                <a16:creationId xmlns:a16="http://schemas.microsoft.com/office/drawing/2014/main" id="{77D31B61-824C-4734-A528-A21E40EAAABD}"/>
              </a:ext>
            </a:extLst>
          </p:cNvPr>
          <p:cNvCxnSpPr>
            <a:cxnSpLocks/>
          </p:cNvCxnSpPr>
          <p:nvPr/>
        </p:nvCxnSpPr>
        <p:spPr>
          <a:xfrm>
            <a:off x="5165600" y="2312682"/>
            <a:ext cx="0" cy="415583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62D78E5B-BA95-46AF-9EA5-2E220000A495}"/>
              </a:ext>
            </a:extLst>
          </p:cNvPr>
          <p:cNvCxnSpPr>
            <a:cxnSpLocks/>
            <a:endCxn id="65" idx="0"/>
          </p:cNvCxnSpPr>
          <p:nvPr/>
        </p:nvCxnSpPr>
        <p:spPr>
          <a:xfrm>
            <a:off x="3930930" y="1248903"/>
            <a:ext cx="0" cy="633576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r Verbinder 84">
            <a:extLst>
              <a:ext uri="{FF2B5EF4-FFF2-40B4-BE49-F238E27FC236}">
                <a16:creationId xmlns:a16="http://schemas.microsoft.com/office/drawing/2014/main" id="{0671956B-B682-4CB7-B2BF-716A64BD6484}"/>
              </a:ext>
            </a:extLst>
          </p:cNvPr>
          <p:cNvCxnSpPr>
            <a:cxnSpLocks/>
          </p:cNvCxnSpPr>
          <p:nvPr/>
        </p:nvCxnSpPr>
        <p:spPr>
          <a:xfrm>
            <a:off x="5946098" y="4935410"/>
            <a:ext cx="0" cy="529342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C3BC455-60B5-4DF8-B2A6-E0550FA5225E}"/>
              </a:ext>
            </a:extLst>
          </p:cNvPr>
          <p:cNvGrpSpPr/>
          <p:nvPr/>
        </p:nvGrpSpPr>
        <p:grpSpPr>
          <a:xfrm>
            <a:off x="182903" y="5262213"/>
            <a:ext cx="1801978" cy="1195738"/>
            <a:chOff x="2094245" y="4685913"/>
            <a:chExt cx="1801978" cy="1195738"/>
          </a:xfrm>
        </p:grpSpPr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CC536869-981A-451F-ABA5-2FCE4599A846}"/>
                </a:ext>
              </a:extLst>
            </p:cNvPr>
            <p:cNvSpPr txBox="1"/>
            <p:nvPr/>
          </p:nvSpPr>
          <p:spPr>
            <a:xfrm>
              <a:off x="2094245" y="4685913"/>
              <a:ext cx="1801978" cy="1195738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Genèv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26828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utomobil-Salon</a:t>
              </a:r>
            </a:p>
            <a:p>
              <a:pPr marL="26828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Fête des vendanges</a:t>
              </a:r>
              <a:b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de </a:t>
              </a:r>
              <a:r>
                <a:rPr kumimoji="0" lang="fr-FR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Russin</a:t>
              </a:r>
              <a:endPara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26828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Palais des Nations</a:t>
              </a:r>
              <a:endPara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70" name="Grafik 69">
              <a:extLst>
                <a:ext uri="{FF2B5EF4-FFF2-40B4-BE49-F238E27FC236}">
                  <a16:creationId xmlns:a16="http://schemas.microsoft.com/office/drawing/2014/main" id="{D8F0A1E5-7BF2-4724-A4C0-106F393AB0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78202" y="5112890"/>
              <a:ext cx="219561" cy="185629"/>
            </a:xfrm>
            <a:prstGeom prst="rect">
              <a:avLst/>
            </a:prstGeom>
          </p:spPr>
        </p:pic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AAD4785-EB0B-43E8-B8AC-7D8B238DCF1F}"/>
              </a:ext>
            </a:extLst>
          </p:cNvPr>
          <p:cNvGrpSpPr/>
          <p:nvPr/>
        </p:nvGrpSpPr>
        <p:grpSpPr>
          <a:xfrm>
            <a:off x="6600041" y="2415701"/>
            <a:ext cx="2310693" cy="1234627"/>
            <a:chOff x="6596915" y="2352191"/>
            <a:chExt cx="2310693" cy="1234627"/>
          </a:xfrm>
        </p:grpSpPr>
        <p:sp>
          <p:nvSpPr>
            <p:cNvPr id="93" name="Textfeld 92">
              <a:extLst>
                <a:ext uri="{FF2B5EF4-FFF2-40B4-BE49-F238E27FC236}">
                  <a16:creationId xmlns:a16="http://schemas.microsoft.com/office/drawing/2014/main" id="{DA4214C3-AA71-49AB-8380-7242517F0FA9}"/>
                </a:ext>
              </a:extLst>
            </p:cNvPr>
            <p:cNvSpPr txBox="1"/>
            <p:nvPr/>
          </p:nvSpPr>
          <p:spPr>
            <a:xfrm>
              <a:off x="6596915" y="2352191"/>
              <a:ext cx="2310693" cy="1234627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Zürich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</a:t>
              </a:r>
              <a:r>
                <a:rPr kumimoji="0" lang="de-CH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Züri-Fäscht</a:t>
              </a: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, Zürich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  </a:t>
              </a:r>
              <a:r>
                <a:rPr kumimoji="0" lang="de-CH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treetparade</a:t>
              </a: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, Zürich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  Stadionkonzerte im</a:t>
              </a:r>
              <a:b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  Letzigrund</a:t>
              </a:r>
            </a:p>
          </p:txBody>
        </p:sp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DFAA0611-17FE-4BBC-9ECE-683ACCA2DD9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6040" y="2711660"/>
              <a:ext cx="310835" cy="258624"/>
            </a:xfrm>
            <a:prstGeom prst="rect">
              <a:avLst/>
            </a:prstGeom>
          </p:spPr>
        </p:pic>
        <p:pic>
          <p:nvPicPr>
            <p:cNvPr id="105" name="Grafik 104">
              <a:extLst>
                <a:ext uri="{FF2B5EF4-FFF2-40B4-BE49-F238E27FC236}">
                  <a16:creationId xmlns:a16="http://schemas.microsoft.com/office/drawing/2014/main" id="{0E330C6D-630B-4171-8D8B-58808F45B7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8987" y="2997582"/>
              <a:ext cx="451499" cy="206937"/>
            </a:xfrm>
            <a:prstGeom prst="rect">
              <a:avLst/>
            </a:prstGeom>
          </p:spPr>
        </p:pic>
        <p:pic>
          <p:nvPicPr>
            <p:cNvPr id="111" name="Grafik 110">
              <a:extLst>
                <a:ext uri="{FF2B5EF4-FFF2-40B4-BE49-F238E27FC236}">
                  <a16:creationId xmlns:a16="http://schemas.microsoft.com/office/drawing/2014/main" id="{C707A5FB-21DC-4791-8B20-EE360E5EC4D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07675" y="3312869"/>
              <a:ext cx="496794" cy="125877"/>
            </a:xfrm>
            <a:prstGeom prst="rect">
              <a:avLst/>
            </a:prstGeom>
          </p:spPr>
        </p:pic>
      </p:grpSp>
      <p:grpSp>
        <p:nvGrpSpPr>
          <p:cNvPr id="126" name="Gruppieren 125">
            <a:extLst>
              <a:ext uri="{FF2B5EF4-FFF2-40B4-BE49-F238E27FC236}">
                <a16:creationId xmlns:a16="http://schemas.microsoft.com/office/drawing/2014/main" id="{FF73D90D-683A-4CC1-93E3-D95C7BFF0AC0}"/>
              </a:ext>
            </a:extLst>
          </p:cNvPr>
          <p:cNvGrpSpPr/>
          <p:nvPr/>
        </p:nvGrpSpPr>
        <p:grpSpPr>
          <a:xfrm>
            <a:off x="6596915" y="5127132"/>
            <a:ext cx="2313819" cy="1224000"/>
            <a:chOff x="6596915" y="5084802"/>
            <a:chExt cx="2313819" cy="1224000"/>
          </a:xfrm>
        </p:grpSpPr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9787DA76-B874-4C45-9CF6-59949153109C}"/>
                </a:ext>
              </a:extLst>
            </p:cNvPr>
            <p:cNvSpPr txBox="1"/>
            <p:nvPr/>
          </p:nvSpPr>
          <p:spPr>
            <a:xfrm>
              <a:off x="6596915" y="5084802"/>
              <a:ext cx="2313819" cy="1224000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Tessi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49263" algn="l"/>
                </a:tabLst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	Ticino Ticke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49263" algn="l"/>
                </a:tabLst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Moon and Stars,</a:t>
              </a:r>
              <a:b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Locarno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49263" algn="l"/>
                </a:tabLst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Locarno Film Festival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Char char="-"/>
                <a:tabLst/>
                <a:defRPr/>
              </a:pPr>
              <a:endPara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92" name="Grafik 91">
              <a:extLst>
                <a:ext uri="{FF2B5EF4-FFF2-40B4-BE49-F238E27FC236}">
                  <a16:creationId xmlns:a16="http://schemas.microsoft.com/office/drawing/2014/main" id="{0B2FEE2F-D291-4DE5-982E-86CA5FA3EB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6040" y="6011111"/>
              <a:ext cx="411243" cy="210191"/>
            </a:xfrm>
            <a:prstGeom prst="rect">
              <a:avLst/>
            </a:prstGeom>
          </p:spPr>
        </p:pic>
        <p:pic>
          <p:nvPicPr>
            <p:cNvPr id="97" name="Grafik 96">
              <a:extLst>
                <a:ext uri="{FF2B5EF4-FFF2-40B4-BE49-F238E27FC236}">
                  <a16:creationId xmlns:a16="http://schemas.microsoft.com/office/drawing/2014/main" id="{EE4A070E-8B3D-4D86-9A67-2DEC88260A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1796" b="33458"/>
            <a:stretch/>
          </p:blipFill>
          <p:spPr>
            <a:xfrm>
              <a:off x="6697212" y="5789375"/>
              <a:ext cx="439374" cy="152663"/>
            </a:xfrm>
            <a:prstGeom prst="rect">
              <a:avLst/>
            </a:prstGeom>
          </p:spPr>
        </p:pic>
        <p:pic>
          <p:nvPicPr>
            <p:cNvPr id="60" name="Grafik 59">
              <a:extLst>
                <a:ext uri="{FF2B5EF4-FFF2-40B4-BE49-F238E27FC236}">
                  <a16:creationId xmlns:a16="http://schemas.microsoft.com/office/drawing/2014/main" id="{A0C14871-149D-4BAD-B83A-C43785375AD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9195" b="89655" l="9195" r="90805">
                          <a14:foregroundMark x1="36782" y1="25287" x2="55172" y2="64368"/>
                          <a14:foregroundMark x1="56322" y1="45977" x2="56322" y2="45977"/>
                          <a14:foregroundMark x1="54023" y1="26437" x2="54023" y2="26437"/>
                          <a14:foregroundMark x1="57471" y1="29885" x2="63218" y2="31034"/>
                          <a14:foregroundMark x1="68966" y1="37931" x2="70115" y2="45977"/>
                          <a14:foregroundMark x1="70115" y1="50575" x2="70115" y2="50575"/>
                          <a14:foregroundMark x1="71264" y1="57471" x2="71264" y2="57471"/>
                          <a14:foregroundMark x1="66667" y1="66667" x2="66667" y2="66667"/>
                          <a14:foregroundMark x1="57471" y1="72414" x2="50575" y2="73563"/>
                          <a14:foregroundMark x1="43678" y1="73563" x2="43678" y2="73563"/>
                          <a14:foregroundMark x1="43678" y1="73563" x2="43678" y2="73563"/>
                          <a14:foregroundMark x1="35632" y1="66667" x2="35632" y2="60920"/>
                          <a14:foregroundMark x1="33333" y1="51724" x2="33333" y2="51724"/>
                          <a14:foregroundMark x1="29885" y1="39080" x2="29885" y2="39080"/>
                          <a14:foregroundMark x1="21839" y1="43678" x2="21839" y2="49425"/>
                          <a14:foregroundMark x1="21839" y1="58621" x2="21839" y2="58621"/>
                          <a14:foregroundMark x1="33333" y1="74713" x2="33333" y2="74713"/>
                          <a14:foregroundMark x1="48276" y1="88506" x2="48276" y2="88506"/>
                          <a14:foregroundMark x1="56322" y1="88506" x2="56322" y2="88506"/>
                          <a14:foregroundMark x1="68966" y1="79310" x2="68966" y2="79310"/>
                          <a14:foregroundMark x1="70115" y1="77011" x2="70115" y2="77011"/>
                          <a14:foregroundMark x1="70115" y1="73563" x2="70115" y2="73563"/>
                          <a14:foregroundMark x1="70115" y1="73563" x2="70115" y2="73563"/>
                          <a14:foregroundMark x1="70115" y1="73563" x2="70115" y2="73563"/>
                          <a14:foregroundMark x1="63218" y1="77011" x2="47126" y2="79310"/>
                          <a14:foregroundMark x1="42529" y1="17241" x2="68966" y2="22989"/>
                          <a14:foregroundMark x1="75862" y1="42529" x2="83908" y2="60920"/>
                          <a14:foregroundMark x1="80460" y1="45977" x2="81609" y2="70115"/>
                          <a14:foregroundMark x1="75862" y1="31034" x2="77011" y2="44828"/>
                          <a14:foregroundMark x1="78161" y1="43678" x2="83908" y2="54023"/>
                          <a14:foregroundMark x1="75862" y1="51724" x2="81609" y2="47126"/>
                          <a14:foregroundMark x1="71264" y1="52874" x2="83908" y2="51724"/>
                          <a14:foregroundMark x1="89655" y1="47126" x2="89655" y2="47126"/>
                          <a14:foregroundMark x1="90805" y1="47126" x2="90805" y2="47126"/>
                          <a14:foregroundMark x1="90805" y1="47126" x2="90805" y2="4712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17909" y="5513188"/>
              <a:ext cx="216022" cy="216022"/>
            </a:xfrm>
            <a:prstGeom prst="rect">
              <a:avLst/>
            </a:prstGeom>
          </p:spPr>
        </p:pic>
      </p:grpSp>
      <p:grpSp>
        <p:nvGrpSpPr>
          <p:cNvPr id="78" name="Gruppieren 77">
            <a:extLst>
              <a:ext uri="{FF2B5EF4-FFF2-40B4-BE49-F238E27FC236}">
                <a16:creationId xmlns:a16="http://schemas.microsoft.com/office/drawing/2014/main" id="{B19F9A06-7047-487D-AE36-F681B4BBFC17}"/>
              </a:ext>
            </a:extLst>
          </p:cNvPr>
          <p:cNvGrpSpPr/>
          <p:nvPr/>
        </p:nvGrpSpPr>
        <p:grpSpPr>
          <a:xfrm>
            <a:off x="6600042" y="3781160"/>
            <a:ext cx="2310692" cy="1184956"/>
            <a:chOff x="6596916" y="3701785"/>
            <a:chExt cx="2310692" cy="1184956"/>
          </a:xfrm>
        </p:grpSpPr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AC22548F-1447-4CED-B622-CECB88C7605C}"/>
                </a:ext>
              </a:extLst>
            </p:cNvPr>
            <p:cNvSpPr txBox="1"/>
            <p:nvPr/>
          </p:nvSpPr>
          <p:spPr>
            <a:xfrm>
              <a:off x="6596916" y="3701785"/>
              <a:ext cx="2310692" cy="1184956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Zentralschweiz</a:t>
              </a:r>
              <a:r>
                <a:rPr kumimoji="0" lang="de-CH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	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57188" algn="l"/>
                </a:tabLst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	Eidg. Schwing- und</a:t>
              </a:r>
              <a:b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	</a:t>
              </a:r>
              <a:r>
                <a:rPr kumimoji="0" lang="de-CH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Älplerfest</a:t>
              </a: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, Zug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57188" algn="l"/>
                </a:tabLst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	</a:t>
              </a:r>
              <a:r>
                <a:rPr kumimoji="0" lang="de-CH" sz="12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ndermatt</a:t>
              </a: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-Sedrun Aren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357188" algn="l"/>
                </a:tabLst>
                <a:defRPr/>
              </a:pPr>
              <a:r>
                <a:rPr kumimoji="0" lang="de-CH" sz="12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	Luzerner Fasnacht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Symbol" panose="05050102010706020507" pitchFamily="18" charset="2"/>
                <a:buChar char="-"/>
                <a:tabLst/>
                <a:defRPr/>
              </a:pPr>
              <a:endParaRPr kumimoji="0" lang="de-CH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44" name="Grafik 43">
              <a:extLst>
                <a:ext uri="{FF2B5EF4-FFF2-40B4-BE49-F238E27FC236}">
                  <a16:creationId xmlns:a16="http://schemas.microsoft.com/office/drawing/2014/main" id="{F1FC727D-1C00-43F6-9DAA-06B3A9BDE6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6040" y="4099938"/>
              <a:ext cx="241134" cy="338041"/>
            </a:xfrm>
            <a:prstGeom prst="rect">
              <a:avLst/>
            </a:prstGeom>
          </p:spPr>
        </p:pic>
        <p:pic>
          <p:nvPicPr>
            <p:cNvPr id="5" name="Grafik 4">
              <a:extLst>
                <a:ext uri="{FF2B5EF4-FFF2-40B4-BE49-F238E27FC236}">
                  <a16:creationId xmlns:a16="http://schemas.microsoft.com/office/drawing/2014/main" id="{A4D57DCC-B844-4114-A4AE-68BC42814B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647557" y="4489532"/>
              <a:ext cx="392463" cy="126600"/>
            </a:xfrm>
            <a:prstGeom prst="rect">
              <a:avLst/>
            </a:prstGeom>
          </p:spPr>
        </p:pic>
      </p:grpSp>
      <p:sp>
        <p:nvSpPr>
          <p:cNvPr id="62" name="Ellipse 61">
            <a:extLst>
              <a:ext uri="{FF2B5EF4-FFF2-40B4-BE49-F238E27FC236}">
                <a16:creationId xmlns:a16="http://schemas.microsoft.com/office/drawing/2014/main" id="{A4B877E2-9D32-4CFF-983C-F5905E2F9C4A}"/>
              </a:ext>
            </a:extLst>
          </p:cNvPr>
          <p:cNvSpPr/>
          <p:nvPr/>
        </p:nvSpPr>
        <p:spPr>
          <a:xfrm>
            <a:off x="3155210" y="4437807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Ellipse 62">
            <a:extLst>
              <a:ext uri="{FF2B5EF4-FFF2-40B4-BE49-F238E27FC236}">
                <a16:creationId xmlns:a16="http://schemas.microsoft.com/office/drawing/2014/main" id="{96B24D93-5025-40D0-B205-A80164EC7234}"/>
              </a:ext>
            </a:extLst>
          </p:cNvPr>
          <p:cNvSpPr/>
          <p:nvPr/>
        </p:nvSpPr>
        <p:spPr>
          <a:xfrm>
            <a:off x="3266136" y="4554396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21BC0DA4-A4B6-45D5-B2F9-10F601DD41DE}"/>
              </a:ext>
            </a:extLst>
          </p:cNvPr>
          <p:cNvSpPr/>
          <p:nvPr/>
        </p:nvSpPr>
        <p:spPr>
          <a:xfrm>
            <a:off x="3002449" y="3225521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Ellipse 70">
            <a:extLst>
              <a:ext uri="{FF2B5EF4-FFF2-40B4-BE49-F238E27FC236}">
                <a16:creationId xmlns:a16="http://schemas.microsoft.com/office/drawing/2014/main" id="{7C9AD12A-4081-4CD5-89D2-1001C999AD13}"/>
              </a:ext>
            </a:extLst>
          </p:cNvPr>
          <p:cNvSpPr/>
          <p:nvPr/>
        </p:nvSpPr>
        <p:spPr>
          <a:xfrm>
            <a:off x="3099073" y="3323996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44FFE406-E6ED-4D31-841F-006B60B1A7A2}"/>
              </a:ext>
            </a:extLst>
          </p:cNvPr>
          <p:cNvCxnSpPr>
            <a:cxnSpLocks/>
          </p:cNvCxnSpPr>
          <p:nvPr/>
        </p:nvCxnSpPr>
        <p:spPr>
          <a:xfrm flipH="1">
            <a:off x="182903" y="5589993"/>
            <a:ext cx="1504858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25A60174-FA99-4AAC-A787-49EB0603589C}"/>
              </a:ext>
            </a:extLst>
          </p:cNvPr>
          <p:cNvCxnSpPr>
            <a:cxnSpLocks/>
            <a:stCxn id="69" idx="4"/>
          </p:cNvCxnSpPr>
          <p:nvPr/>
        </p:nvCxnSpPr>
        <p:spPr>
          <a:xfrm>
            <a:off x="2454254" y="4127194"/>
            <a:ext cx="0" cy="1781474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r Verbinder 90">
            <a:extLst>
              <a:ext uri="{FF2B5EF4-FFF2-40B4-BE49-F238E27FC236}">
                <a16:creationId xmlns:a16="http://schemas.microsoft.com/office/drawing/2014/main" id="{42A43A73-7C0F-479E-A343-6E2E6209A0FA}"/>
              </a:ext>
            </a:extLst>
          </p:cNvPr>
          <p:cNvCxnSpPr>
            <a:cxnSpLocks/>
            <a:stCxn id="63" idx="6"/>
          </p:cNvCxnSpPr>
          <p:nvPr/>
        </p:nvCxnSpPr>
        <p:spPr>
          <a:xfrm>
            <a:off x="3587374" y="4715015"/>
            <a:ext cx="470276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2F9A28A1-0E85-437F-A32F-7A44FA548656}"/>
              </a:ext>
            </a:extLst>
          </p:cNvPr>
          <p:cNvCxnSpPr>
            <a:cxnSpLocks/>
          </p:cNvCxnSpPr>
          <p:nvPr/>
        </p:nvCxnSpPr>
        <p:spPr>
          <a:xfrm flipH="1">
            <a:off x="2938749" y="2971204"/>
            <a:ext cx="846298" cy="4329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Ellipse 97">
            <a:extLst>
              <a:ext uri="{FF2B5EF4-FFF2-40B4-BE49-F238E27FC236}">
                <a16:creationId xmlns:a16="http://schemas.microsoft.com/office/drawing/2014/main" id="{6245A9E8-30F5-429B-AD97-0D3B09D2BDB0}"/>
              </a:ext>
            </a:extLst>
          </p:cNvPr>
          <p:cNvSpPr/>
          <p:nvPr/>
        </p:nvSpPr>
        <p:spPr>
          <a:xfrm>
            <a:off x="4219888" y="1973263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Ellipse 99">
            <a:extLst>
              <a:ext uri="{FF2B5EF4-FFF2-40B4-BE49-F238E27FC236}">
                <a16:creationId xmlns:a16="http://schemas.microsoft.com/office/drawing/2014/main" id="{B724ED7F-E4B1-43BC-A49D-F9B3FCB1D945}"/>
              </a:ext>
            </a:extLst>
          </p:cNvPr>
          <p:cNvSpPr/>
          <p:nvPr/>
        </p:nvSpPr>
        <p:spPr>
          <a:xfrm>
            <a:off x="4318879" y="2080028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Textfeld 105">
            <a:extLst>
              <a:ext uri="{FF2B5EF4-FFF2-40B4-BE49-F238E27FC236}">
                <a16:creationId xmlns:a16="http://schemas.microsoft.com/office/drawing/2014/main" id="{01A7480F-90EF-446A-874E-AA7B821E4EFB}"/>
              </a:ext>
            </a:extLst>
          </p:cNvPr>
          <p:cNvSpPr txBox="1"/>
          <p:nvPr/>
        </p:nvSpPr>
        <p:spPr>
          <a:xfrm>
            <a:off x="271112" y="3491856"/>
            <a:ext cx="1724006" cy="884495"/>
          </a:xfrm>
          <a:prstGeom prst="rect">
            <a:avLst/>
          </a:prstGeom>
          <a:solidFill>
            <a:schemeClr val="bg1">
              <a:alpha val="90000"/>
            </a:schemeClr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108000" tIns="36000" rIns="36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ribourg</a:t>
            </a:r>
            <a:br>
              <a:rPr kumimoji="0" lang="de-CH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5381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léson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5381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Kerzerslauf</a:t>
            </a:r>
            <a:endParaRPr kumimoji="0" lang="de-CH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E439B9BB-2715-4937-A20C-48836617D91F}"/>
              </a:ext>
            </a:extLst>
          </p:cNvPr>
          <p:cNvCxnSpPr>
            <a:cxnSpLocks/>
          </p:cNvCxnSpPr>
          <p:nvPr/>
        </p:nvCxnSpPr>
        <p:spPr>
          <a:xfrm flipH="1">
            <a:off x="266860" y="3824618"/>
            <a:ext cx="1824882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6F1D2F8-8E88-4196-867D-33569C012DBD}"/>
              </a:ext>
            </a:extLst>
          </p:cNvPr>
          <p:cNvCxnSpPr>
            <a:cxnSpLocks/>
            <a:stCxn id="71" idx="2"/>
          </p:cNvCxnSpPr>
          <p:nvPr/>
        </p:nvCxnSpPr>
        <p:spPr>
          <a:xfrm flipH="1" flipV="1">
            <a:off x="2091742" y="3477074"/>
            <a:ext cx="1007331" cy="7541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Ellipse 117">
            <a:extLst>
              <a:ext uri="{FF2B5EF4-FFF2-40B4-BE49-F238E27FC236}">
                <a16:creationId xmlns:a16="http://schemas.microsoft.com/office/drawing/2014/main" id="{28192614-8722-4091-A902-D28A8BA20E6A}"/>
              </a:ext>
            </a:extLst>
          </p:cNvPr>
          <p:cNvSpPr/>
          <p:nvPr/>
        </p:nvSpPr>
        <p:spPr>
          <a:xfrm>
            <a:off x="1425657" y="4408036"/>
            <a:ext cx="527374" cy="527374"/>
          </a:xfrm>
          <a:prstGeom prst="ellipse">
            <a:avLst/>
          </a:prstGeom>
          <a:solidFill>
            <a:schemeClr val="accent6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Ellipse 118">
            <a:extLst>
              <a:ext uri="{FF2B5EF4-FFF2-40B4-BE49-F238E27FC236}">
                <a16:creationId xmlns:a16="http://schemas.microsoft.com/office/drawing/2014/main" id="{C8C7EECC-0973-46E6-B415-1D7767D7474D}"/>
              </a:ext>
            </a:extLst>
          </p:cNvPr>
          <p:cNvSpPr/>
          <p:nvPr/>
        </p:nvSpPr>
        <p:spPr>
          <a:xfrm>
            <a:off x="1527142" y="4526230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0" name="Gerader Verbinder 119">
            <a:extLst>
              <a:ext uri="{FF2B5EF4-FFF2-40B4-BE49-F238E27FC236}">
                <a16:creationId xmlns:a16="http://schemas.microsoft.com/office/drawing/2014/main" id="{52ED63AC-2E01-427D-9E58-A7F15136C921}"/>
              </a:ext>
            </a:extLst>
          </p:cNvPr>
          <p:cNvCxnSpPr>
            <a:cxnSpLocks/>
            <a:endCxn id="119" idx="4"/>
          </p:cNvCxnSpPr>
          <p:nvPr/>
        </p:nvCxnSpPr>
        <p:spPr>
          <a:xfrm flipV="1">
            <a:off x="1687761" y="4847468"/>
            <a:ext cx="0" cy="742525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Ellipse 95">
            <a:extLst>
              <a:ext uri="{FF2B5EF4-FFF2-40B4-BE49-F238E27FC236}">
                <a16:creationId xmlns:a16="http://schemas.microsoft.com/office/drawing/2014/main" id="{11B836F9-F85C-4D25-BF8D-89A0383BED41}"/>
              </a:ext>
            </a:extLst>
          </p:cNvPr>
          <p:cNvSpPr/>
          <p:nvPr/>
        </p:nvSpPr>
        <p:spPr>
          <a:xfrm>
            <a:off x="5036515" y="1998973"/>
            <a:ext cx="321238" cy="321238"/>
          </a:xfrm>
          <a:prstGeom prst="ellipse">
            <a:avLst/>
          </a:prstGeom>
          <a:solidFill>
            <a:schemeClr val="accent6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t" anchorCtr="0">
            <a:normAutofit fontScale="4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14" name="Gerader Verbinder 113">
            <a:extLst>
              <a:ext uri="{FF2B5EF4-FFF2-40B4-BE49-F238E27FC236}">
                <a16:creationId xmlns:a16="http://schemas.microsoft.com/office/drawing/2014/main" id="{133F6E0E-ED25-4D8F-A2DE-6B74163AAE00}"/>
              </a:ext>
            </a:extLst>
          </p:cNvPr>
          <p:cNvCxnSpPr>
            <a:cxnSpLocks/>
          </p:cNvCxnSpPr>
          <p:nvPr/>
        </p:nvCxnSpPr>
        <p:spPr>
          <a:xfrm>
            <a:off x="2091742" y="3477074"/>
            <a:ext cx="0" cy="338213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>
            <a:extLst>
              <a:ext uri="{FF2B5EF4-FFF2-40B4-BE49-F238E27FC236}">
                <a16:creationId xmlns:a16="http://schemas.microsoft.com/office/drawing/2014/main" id="{E0ED6AB1-FAA3-414F-9BAE-6A8B479EB279}"/>
              </a:ext>
            </a:extLst>
          </p:cNvPr>
          <p:cNvCxnSpPr>
            <a:cxnSpLocks/>
          </p:cNvCxnSpPr>
          <p:nvPr/>
        </p:nvCxnSpPr>
        <p:spPr>
          <a:xfrm>
            <a:off x="2938749" y="2303550"/>
            <a:ext cx="0" cy="677993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>
            <a:extLst>
              <a:ext uri="{FF2B5EF4-FFF2-40B4-BE49-F238E27FC236}">
                <a16:creationId xmlns:a16="http://schemas.microsoft.com/office/drawing/2014/main" id="{5776A6C7-C7F1-4E34-8C64-9E989C27EA61}"/>
              </a:ext>
            </a:extLst>
          </p:cNvPr>
          <p:cNvCxnSpPr>
            <a:cxnSpLocks/>
          </p:cNvCxnSpPr>
          <p:nvPr/>
        </p:nvCxnSpPr>
        <p:spPr>
          <a:xfrm>
            <a:off x="4475923" y="1200600"/>
            <a:ext cx="0" cy="842145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uppieren 86">
            <a:extLst>
              <a:ext uri="{FF2B5EF4-FFF2-40B4-BE49-F238E27FC236}">
                <a16:creationId xmlns:a16="http://schemas.microsoft.com/office/drawing/2014/main" id="{32DCCEC6-3DD5-493B-B2E2-DDC9E8E940E8}"/>
              </a:ext>
            </a:extLst>
          </p:cNvPr>
          <p:cNvGrpSpPr/>
          <p:nvPr/>
        </p:nvGrpSpPr>
        <p:grpSpPr>
          <a:xfrm>
            <a:off x="2509102" y="5580887"/>
            <a:ext cx="2673297" cy="1135349"/>
            <a:chOff x="2094244" y="4685912"/>
            <a:chExt cx="2673297" cy="1135349"/>
          </a:xfrm>
        </p:grpSpPr>
        <p:sp>
          <p:nvSpPr>
            <p:cNvPr id="88" name="Textfeld 87">
              <a:extLst>
                <a:ext uri="{FF2B5EF4-FFF2-40B4-BE49-F238E27FC236}">
                  <a16:creationId xmlns:a16="http://schemas.microsoft.com/office/drawing/2014/main" id="{451063FA-A36A-420E-A76B-DE9D054D54B4}"/>
                </a:ext>
              </a:extLst>
            </p:cNvPr>
            <p:cNvSpPr txBox="1"/>
            <p:nvPr/>
          </p:nvSpPr>
          <p:spPr>
            <a:xfrm>
              <a:off x="2094244" y="4685912"/>
              <a:ext cx="2673297" cy="1135349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Waadt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 </a:t>
              </a: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Fêtes</a:t>
              </a: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des </a:t>
              </a: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Vignerons</a:t>
              </a: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, Veve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 Montreux Jazz Festival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   Int. Olympisches Komitee</a:t>
              </a:r>
              <a:endParaRPr kumimoji="0" lang="de-CH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368CCD91-E002-429D-A571-7E5414E9D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3772" y="5141019"/>
              <a:ext cx="462524" cy="134016"/>
            </a:xfrm>
            <a:prstGeom prst="rect">
              <a:avLst/>
            </a:prstGeom>
          </p:spPr>
        </p:pic>
        <p:pic>
          <p:nvPicPr>
            <p:cNvPr id="123" name="Grafik 122">
              <a:extLst>
                <a:ext uri="{FF2B5EF4-FFF2-40B4-BE49-F238E27FC236}">
                  <a16:creationId xmlns:a16="http://schemas.microsoft.com/office/drawing/2014/main" id="{FA682DD6-08F0-4DC6-BAB1-77C0ED7D80D5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4666" y="5277525"/>
              <a:ext cx="339256" cy="222637"/>
            </a:xfrm>
            <a:prstGeom prst="rect">
              <a:avLst/>
            </a:prstGeom>
          </p:spPr>
        </p:pic>
      </p:grpSp>
      <p:cxnSp>
        <p:nvCxnSpPr>
          <p:cNvPr id="124" name="Gerader Verbinder 123">
            <a:extLst>
              <a:ext uri="{FF2B5EF4-FFF2-40B4-BE49-F238E27FC236}">
                <a16:creationId xmlns:a16="http://schemas.microsoft.com/office/drawing/2014/main" id="{8037C44E-A224-4C2A-A759-81B0B2977310}"/>
              </a:ext>
            </a:extLst>
          </p:cNvPr>
          <p:cNvCxnSpPr>
            <a:cxnSpLocks/>
          </p:cNvCxnSpPr>
          <p:nvPr/>
        </p:nvCxnSpPr>
        <p:spPr>
          <a:xfrm flipH="1">
            <a:off x="2444895" y="5908668"/>
            <a:ext cx="2737504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153CFDD3-54E9-4DB6-8F66-A94AF1F35BC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62" y="3900664"/>
            <a:ext cx="270000" cy="21600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4B56AAFB-AFA6-4DB6-B43D-0B28B055965A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" b="23693"/>
          <a:stretch/>
        </p:blipFill>
        <p:spPr>
          <a:xfrm>
            <a:off x="298070" y="4147835"/>
            <a:ext cx="511499" cy="150230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2E666B01-1991-4870-9CFD-D8AA7F583DC5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7680"/>
          <a:stretch/>
        </p:blipFill>
        <p:spPr>
          <a:xfrm>
            <a:off x="261033" y="5946985"/>
            <a:ext cx="216000" cy="212912"/>
          </a:xfrm>
          <a:prstGeom prst="rect">
            <a:avLst/>
          </a:prstGeom>
        </p:spPr>
      </p:pic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7940AB27-52A1-41A5-84D7-5F38440D7916}"/>
              </a:ext>
            </a:extLst>
          </p:cNvPr>
          <p:cNvGrpSpPr/>
          <p:nvPr/>
        </p:nvGrpSpPr>
        <p:grpSpPr>
          <a:xfrm>
            <a:off x="3763642" y="4362425"/>
            <a:ext cx="1826822" cy="1005065"/>
            <a:chOff x="3697871" y="3870567"/>
            <a:chExt cx="1826822" cy="1005065"/>
          </a:xfrm>
        </p:grpSpPr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EE579EF5-948D-4621-A12E-780BFF767ED0}"/>
                </a:ext>
              </a:extLst>
            </p:cNvPr>
            <p:cNvSpPr txBox="1"/>
            <p:nvPr/>
          </p:nvSpPr>
          <p:spPr>
            <a:xfrm>
              <a:off x="3697871" y="3870567"/>
              <a:ext cx="1826822" cy="1005065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Wallis</a:t>
              </a:r>
              <a:br>
                <a:rPr kumimoji="0" lang="de-CH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</a:br>
              <a:endPara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266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Zermatt/Matterhorn</a:t>
              </a:r>
            </a:p>
            <a:p>
              <a:pPr marL="266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idg. Volksmusikfest </a:t>
              </a: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Crans</a:t>
              </a: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-Montan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BEBE3B14-604A-4D22-96F4-3B7B8A9ED0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42368" y="4258672"/>
              <a:ext cx="307083" cy="245666"/>
            </a:xfrm>
            <a:prstGeom prst="rect">
              <a:avLst/>
            </a:prstGeom>
          </p:spPr>
        </p:pic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BDF7D95D-CC65-4D34-B5FC-9F1958276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54234" y="4556134"/>
              <a:ext cx="307083" cy="216000"/>
            </a:xfrm>
            <a:prstGeom prst="rect">
              <a:avLst/>
            </a:prstGeom>
          </p:spPr>
        </p:pic>
      </p:grpSp>
      <p:cxnSp>
        <p:nvCxnSpPr>
          <p:cNvPr id="89" name="Gerader Verbinder 88">
            <a:extLst>
              <a:ext uri="{FF2B5EF4-FFF2-40B4-BE49-F238E27FC236}">
                <a16:creationId xmlns:a16="http://schemas.microsoft.com/office/drawing/2014/main" id="{FD98F275-A098-4BF8-B66D-CA7F85E9F1F3}"/>
              </a:ext>
            </a:extLst>
          </p:cNvPr>
          <p:cNvCxnSpPr>
            <a:cxnSpLocks/>
          </p:cNvCxnSpPr>
          <p:nvPr/>
        </p:nvCxnSpPr>
        <p:spPr>
          <a:xfrm flipH="1">
            <a:off x="3486083" y="4715610"/>
            <a:ext cx="2104381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1990EE0F-FB83-4F12-B256-37329A46DA21}"/>
              </a:ext>
            </a:extLst>
          </p:cNvPr>
          <p:cNvCxnSpPr>
            <a:cxnSpLocks/>
          </p:cNvCxnSpPr>
          <p:nvPr/>
        </p:nvCxnSpPr>
        <p:spPr>
          <a:xfrm flipH="1">
            <a:off x="5165601" y="2728266"/>
            <a:ext cx="3745131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Gerader Verbinder 141">
            <a:extLst>
              <a:ext uri="{FF2B5EF4-FFF2-40B4-BE49-F238E27FC236}">
                <a16:creationId xmlns:a16="http://schemas.microsoft.com/office/drawing/2014/main" id="{FF108B43-E5BF-40F4-A351-C6886B04B0AB}"/>
              </a:ext>
            </a:extLst>
          </p:cNvPr>
          <p:cNvCxnSpPr>
            <a:cxnSpLocks/>
          </p:cNvCxnSpPr>
          <p:nvPr/>
        </p:nvCxnSpPr>
        <p:spPr>
          <a:xfrm flipH="1">
            <a:off x="5129310" y="4100307"/>
            <a:ext cx="3781422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2E19B23A-7378-47E5-8F01-F12561767DAC}"/>
              </a:ext>
            </a:extLst>
          </p:cNvPr>
          <p:cNvCxnSpPr>
            <a:cxnSpLocks/>
          </p:cNvCxnSpPr>
          <p:nvPr/>
        </p:nvCxnSpPr>
        <p:spPr>
          <a:xfrm flipH="1">
            <a:off x="5946098" y="5464752"/>
            <a:ext cx="2972032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7A8F6AD3-4378-406F-A5A6-A004C3697695}"/>
              </a:ext>
            </a:extLst>
          </p:cNvPr>
          <p:cNvGrpSpPr/>
          <p:nvPr/>
        </p:nvGrpSpPr>
        <p:grpSpPr>
          <a:xfrm>
            <a:off x="6546642" y="119293"/>
            <a:ext cx="2364092" cy="1052324"/>
            <a:chOff x="4511170" y="886484"/>
            <a:chExt cx="2364092" cy="1052324"/>
          </a:xfrm>
        </p:grpSpPr>
        <p:sp>
          <p:nvSpPr>
            <p:cNvPr id="102" name="Textfeld 101">
              <a:extLst>
                <a:ext uri="{FF2B5EF4-FFF2-40B4-BE49-F238E27FC236}">
                  <a16:creationId xmlns:a16="http://schemas.microsoft.com/office/drawing/2014/main" id="{4CF2F1AC-038B-440B-BDCA-CAF4BD0925DF}"/>
                </a:ext>
              </a:extLst>
            </p:cNvPr>
            <p:cNvSpPr txBox="1"/>
            <p:nvPr/>
          </p:nvSpPr>
          <p:spPr>
            <a:xfrm>
              <a:off x="4511170" y="886484"/>
              <a:ext cx="2364092" cy="1052324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argau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4492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447675" algn="l"/>
                </a:tabLst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idg. Turnfest, Aarau </a:t>
              </a:r>
            </a:p>
            <a:p>
              <a:pPr marL="4492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Argovia</a:t>
              </a: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</a:t>
              </a: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Fäscht</a:t>
              </a: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, </a:t>
              </a: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Birrfeld</a:t>
              </a:r>
              <a:endPara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449263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Bad </a:t>
              </a: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Zurzach</a:t>
              </a:r>
              <a:endParaRPr kumimoji="0" lang="de-CH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pic>
          <p:nvPicPr>
            <p:cNvPr id="125" name="Grafik 124">
              <a:extLst>
                <a:ext uri="{FF2B5EF4-FFF2-40B4-BE49-F238E27FC236}">
                  <a16:creationId xmlns:a16="http://schemas.microsoft.com/office/drawing/2014/main" id="{CB2600D3-FE68-4172-BBC7-2FD450E083A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4615384" y="1308957"/>
              <a:ext cx="411501" cy="180000"/>
            </a:xfrm>
            <a:prstGeom prst="rect">
              <a:avLst/>
            </a:prstGeom>
          </p:spPr>
        </p:pic>
        <p:pic>
          <p:nvPicPr>
            <p:cNvPr id="131" name="Grafik 130">
              <a:extLst>
                <a:ext uri="{FF2B5EF4-FFF2-40B4-BE49-F238E27FC236}">
                  <a16:creationId xmlns:a16="http://schemas.microsoft.com/office/drawing/2014/main" id="{548BF1FF-2DC6-4389-9D47-392DE10E0D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172" b="21619"/>
            <a:stretch/>
          </p:blipFill>
          <p:spPr>
            <a:xfrm>
              <a:off x="4663815" y="1518700"/>
              <a:ext cx="314639" cy="180000"/>
            </a:xfrm>
            <a:prstGeom prst="rect">
              <a:avLst/>
            </a:prstGeom>
          </p:spPr>
        </p:pic>
        <p:pic>
          <p:nvPicPr>
            <p:cNvPr id="133" name="Grafik 132">
              <a:extLst>
                <a:ext uri="{FF2B5EF4-FFF2-40B4-BE49-F238E27FC236}">
                  <a16:creationId xmlns:a16="http://schemas.microsoft.com/office/drawing/2014/main" id="{D7275CD2-2DC9-464C-B679-DA0FA6E445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16819" y="1711463"/>
              <a:ext cx="410066" cy="154706"/>
            </a:xfrm>
            <a:prstGeom prst="rect">
              <a:avLst/>
            </a:prstGeom>
          </p:spPr>
        </p:pic>
      </p:grp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6FDC66E6-AFDF-473B-A129-E4B58AEE7B9B}"/>
              </a:ext>
            </a:extLst>
          </p:cNvPr>
          <p:cNvCxnSpPr>
            <a:cxnSpLocks/>
          </p:cNvCxnSpPr>
          <p:nvPr/>
        </p:nvCxnSpPr>
        <p:spPr>
          <a:xfrm flipH="1">
            <a:off x="6375975" y="433409"/>
            <a:ext cx="2534757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r Verbinder 116">
            <a:extLst>
              <a:ext uri="{FF2B5EF4-FFF2-40B4-BE49-F238E27FC236}">
                <a16:creationId xmlns:a16="http://schemas.microsoft.com/office/drawing/2014/main" id="{B6F02680-12E3-4BF7-BD03-8F74721141BD}"/>
              </a:ext>
            </a:extLst>
          </p:cNvPr>
          <p:cNvCxnSpPr>
            <a:cxnSpLocks/>
          </p:cNvCxnSpPr>
          <p:nvPr/>
        </p:nvCxnSpPr>
        <p:spPr>
          <a:xfrm flipH="1" flipV="1">
            <a:off x="4475924" y="1209491"/>
            <a:ext cx="1900050" cy="975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B5CD3406-807D-4412-8AA5-5409DF09460C}"/>
              </a:ext>
            </a:extLst>
          </p:cNvPr>
          <p:cNvCxnSpPr>
            <a:cxnSpLocks/>
          </p:cNvCxnSpPr>
          <p:nvPr/>
        </p:nvCxnSpPr>
        <p:spPr>
          <a:xfrm>
            <a:off x="6375974" y="433409"/>
            <a:ext cx="0" cy="781209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Foliennummernplatzhalter 3">
            <a:extLst>
              <a:ext uri="{FF2B5EF4-FFF2-40B4-BE49-F238E27FC236}">
                <a16:creationId xmlns:a16="http://schemas.microsoft.com/office/drawing/2014/main" id="{ED5D0DEB-6B2F-4ACE-AC59-16DBEFB37D3A}"/>
              </a:ext>
            </a:extLst>
          </p:cNvPr>
          <p:cNvSpPr txBox="1">
            <a:spLocks/>
          </p:cNvSpPr>
          <p:nvPr/>
        </p:nvSpPr>
        <p:spPr>
          <a:xfrm>
            <a:off x="8521774" y="6618257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600" b="1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115662-413A-4888-B9BC-797CDE14544F}" type="slidenum">
              <a:rPr kumimoji="0" lang="de-CH" sz="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CH" sz="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BED57C6-944E-4477-B322-43E631DF8009}"/>
              </a:ext>
            </a:extLst>
          </p:cNvPr>
          <p:cNvGrpSpPr/>
          <p:nvPr/>
        </p:nvGrpSpPr>
        <p:grpSpPr>
          <a:xfrm>
            <a:off x="6530102" y="1248163"/>
            <a:ext cx="2380632" cy="1055387"/>
            <a:chOff x="6506135" y="1248163"/>
            <a:chExt cx="2380632" cy="1055387"/>
          </a:xfrm>
        </p:grpSpPr>
        <p:sp>
          <p:nvSpPr>
            <p:cNvPr id="99" name="Textfeld 98">
              <a:extLst>
                <a:ext uri="{FF2B5EF4-FFF2-40B4-BE49-F238E27FC236}">
                  <a16:creationId xmlns:a16="http://schemas.microsoft.com/office/drawing/2014/main" id="{C7C93041-4452-4E51-B537-AD5ECE503341}"/>
                </a:ext>
              </a:extLst>
            </p:cNvPr>
            <p:cNvSpPr txBox="1"/>
            <p:nvPr/>
          </p:nvSpPr>
          <p:spPr>
            <a:xfrm>
              <a:off x="6596917" y="1248163"/>
              <a:ext cx="2289848" cy="1055387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Ostschweiz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7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Gymnaestrada, Dornbir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OLMA, St. Galle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        </a:t>
              </a: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Heidiland</a:t>
              </a:r>
              <a:endPara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cxnSp>
          <p:nvCxnSpPr>
            <p:cNvPr id="45" name="Gerader Verbinder 44">
              <a:extLst>
                <a:ext uri="{FF2B5EF4-FFF2-40B4-BE49-F238E27FC236}">
                  <a16:creationId xmlns:a16="http://schemas.microsoft.com/office/drawing/2014/main" id="{E17F1331-0341-4EF9-B6EE-BD97750491AC}"/>
                </a:ext>
              </a:extLst>
            </p:cNvPr>
            <p:cNvCxnSpPr>
              <a:cxnSpLocks/>
            </p:cNvCxnSpPr>
            <p:nvPr/>
          </p:nvCxnSpPr>
          <p:spPr>
            <a:xfrm>
              <a:off x="6506135" y="1561931"/>
              <a:ext cx="0" cy="340953"/>
            </a:xfrm>
            <a:prstGeom prst="line">
              <a:avLst/>
            </a:prstGeom>
            <a:ln w="222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1" name="Grafik 100">
              <a:extLst>
                <a:ext uri="{FF2B5EF4-FFF2-40B4-BE49-F238E27FC236}">
                  <a16:creationId xmlns:a16="http://schemas.microsoft.com/office/drawing/2014/main" id="{6A0EB0F4-5A3E-4899-A58E-A64CEACB7669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6688886" y="2071322"/>
              <a:ext cx="369200" cy="95647"/>
            </a:xfrm>
            <a:prstGeom prst="rect">
              <a:avLst/>
            </a:prstGeom>
          </p:spPr>
        </p:pic>
        <p:pic>
          <p:nvPicPr>
            <p:cNvPr id="103" name="Grafik 102">
              <a:extLst>
                <a:ext uri="{FF2B5EF4-FFF2-40B4-BE49-F238E27FC236}">
                  <a16:creationId xmlns:a16="http://schemas.microsoft.com/office/drawing/2014/main" id="{E4AE9EFB-D98E-43C1-A4BE-FA6F4816DA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6688886" y="1875087"/>
              <a:ext cx="357922" cy="119307"/>
            </a:xfrm>
            <a:prstGeom prst="rect">
              <a:avLst/>
            </a:prstGeom>
          </p:spPr>
        </p:pic>
        <p:pic>
          <p:nvPicPr>
            <p:cNvPr id="107" name="Grafik 106">
              <a:extLst>
                <a:ext uri="{FF2B5EF4-FFF2-40B4-BE49-F238E27FC236}">
                  <a16:creationId xmlns:a16="http://schemas.microsoft.com/office/drawing/2014/main" id="{B7A94286-9F00-4A90-8875-E783E7D869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72" t="32215" r="25059" b="29271"/>
            <a:stretch/>
          </p:blipFill>
          <p:spPr>
            <a:xfrm>
              <a:off x="6694069" y="1694673"/>
              <a:ext cx="359464" cy="128783"/>
            </a:xfrm>
            <a:prstGeom prst="rect">
              <a:avLst/>
            </a:prstGeom>
          </p:spPr>
        </p:pic>
        <p:cxnSp>
          <p:nvCxnSpPr>
            <p:cNvPr id="139" name="Gerader Verbinder 138">
              <a:extLst>
                <a:ext uri="{FF2B5EF4-FFF2-40B4-BE49-F238E27FC236}">
                  <a16:creationId xmlns:a16="http://schemas.microsoft.com/office/drawing/2014/main" id="{98AC5A45-AC42-42CA-B28C-515A922B703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06135" y="1567829"/>
              <a:ext cx="2380632" cy="0"/>
            </a:xfrm>
            <a:prstGeom prst="line">
              <a:avLst/>
            </a:prstGeom>
            <a:ln w="22225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59320AB0-5C7D-4BB5-8C94-F4CE1BD4D05F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153" y="6200924"/>
            <a:ext cx="253884" cy="216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3063BC7-4C15-492E-9043-0366067686DC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4873" y="6395137"/>
            <a:ext cx="470368" cy="216000"/>
          </a:xfrm>
          <a:prstGeom prst="rect">
            <a:avLst/>
          </a:prstGeom>
        </p:spPr>
      </p:pic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D7A047CB-4F82-41A6-B634-AC72B2EBC47F}"/>
              </a:ext>
            </a:extLst>
          </p:cNvPr>
          <p:cNvGrpSpPr/>
          <p:nvPr/>
        </p:nvGrpSpPr>
        <p:grpSpPr>
          <a:xfrm>
            <a:off x="266860" y="1963366"/>
            <a:ext cx="2592292" cy="1171499"/>
            <a:chOff x="266860" y="1918916"/>
            <a:chExt cx="2592292" cy="1171499"/>
          </a:xfrm>
        </p:grpSpPr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68E740A5-4EFE-4F4B-BC64-B7FDE0274E7C}"/>
                </a:ext>
              </a:extLst>
            </p:cNvPr>
            <p:cNvGrpSpPr/>
            <p:nvPr/>
          </p:nvGrpSpPr>
          <p:grpSpPr>
            <a:xfrm>
              <a:off x="266860" y="1918916"/>
              <a:ext cx="2592292" cy="1171499"/>
              <a:chOff x="278770" y="2255541"/>
              <a:chExt cx="2592292" cy="1171499"/>
            </a:xfrm>
          </p:grpSpPr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7CECC037-4E80-4C8B-8916-C7304E41319C}"/>
                  </a:ext>
                </a:extLst>
              </p:cNvPr>
              <p:cNvSpPr txBox="1"/>
              <p:nvPr/>
            </p:nvSpPr>
            <p:spPr>
              <a:xfrm>
                <a:off x="278770" y="2255541"/>
                <a:ext cx="2592292" cy="1171499"/>
              </a:xfrm>
              <a:prstGeom prst="rect">
                <a:avLst/>
              </a:prstGeom>
              <a:solidFill>
                <a:schemeClr val="bg1">
                  <a:alpha val="90000"/>
                </a:schemeClr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wrap="square" lIns="108000" tIns="36000" rIns="36000" bIns="36000" rtlCol="0" anchor="t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CH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Ber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CH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CH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           Swiss E-Prix – Formel E</a:t>
                </a:r>
                <a:br>
                  <a:rPr kumimoji="0" lang="de-CH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</a:br>
                <a:r>
                  <a:rPr kumimoji="0" lang="de-CH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           Autorennen, Ber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CH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           Schweizer Frauenlauf, Ber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CH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itchFamily="34" charset="0"/>
                    <a:ea typeface="+mn-ea"/>
                    <a:cs typeface="Arial" pitchFamily="34" charset="0"/>
                  </a:rPr>
                  <a:t>           Berner Oberland</a:t>
                </a:r>
              </a:p>
            </p:txBody>
          </p:sp>
          <p:pic>
            <p:nvPicPr>
              <p:cNvPr id="48" name="Grafik 47">
                <a:extLst>
                  <a:ext uri="{FF2B5EF4-FFF2-40B4-BE49-F238E27FC236}">
                    <a16:creationId xmlns:a16="http://schemas.microsoft.com/office/drawing/2014/main" id="{22ED9785-8C72-4924-8DEC-23DF385E16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49247" b="15436"/>
              <a:stretch/>
            </p:blipFill>
            <p:spPr>
              <a:xfrm>
                <a:off x="485095" y="2698730"/>
                <a:ext cx="252756" cy="312849"/>
              </a:xfrm>
              <a:prstGeom prst="rect">
                <a:avLst/>
              </a:prstGeom>
            </p:spPr>
          </p:pic>
          <p:pic>
            <p:nvPicPr>
              <p:cNvPr id="52" name="Grafik 51">
                <a:extLst>
                  <a:ext uri="{FF2B5EF4-FFF2-40B4-BE49-F238E27FC236}">
                    <a16:creationId xmlns:a16="http://schemas.microsoft.com/office/drawing/2014/main" id="{068F3C6F-2C16-4A2D-88B6-0308208468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4" cstate="print">
                <a:duotone>
                  <a:prstClr val="black"/>
                  <a:schemeClr val="accent6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6988" y="3081162"/>
                <a:ext cx="444558" cy="125032"/>
              </a:xfrm>
              <a:prstGeom prst="rect">
                <a:avLst/>
              </a:prstGeom>
              <a:noFill/>
            </p:spPr>
          </p:pic>
        </p:grp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E62B0B75-7569-475D-8CFC-4DABB6DFE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522" y="2949084"/>
              <a:ext cx="502680" cy="98708"/>
            </a:xfrm>
            <a:prstGeom prst="rect">
              <a:avLst/>
            </a:prstGeom>
          </p:spPr>
        </p:pic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8EC63A31-74E6-4353-8875-778CFD8885B0}"/>
              </a:ext>
            </a:extLst>
          </p:cNvPr>
          <p:cNvGrpSpPr/>
          <p:nvPr/>
        </p:nvGrpSpPr>
        <p:grpSpPr>
          <a:xfrm>
            <a:off x="1056569" y="877464"/>
            <a:ext cx="1960293" cy="997716"/>
            <a:chOff x="280485" y="877464"/>
            <a:chExt cx="1960293" cy="997716"/>
          </a:xfrm>
        </p:grpSpPr>
        <p:sp>
          <p:nvSpPr>
            <p:cNvPr id="81" name="Textfeld 80">
              <a:extLst>
                <a:ext uri="{FF2B5EF4-FFF2-40B4-BE49-F238E27FC236}">
                  <a16:creationId xmlns:a16="http://schemas.microsoft.com/office/drawing/2014/main" id="{634ABAAC-5C07-43E4-BDB7-A7EDDCDD461B}"/>
                </a:ext>
              </a:extLst>
            </p:cNvPr>
            <p:cNvSpPr txBox="1"/>
            <p:nvPr/>
          </p:nvSpPr>
          <p:spPr>
            <a:xfrm>
              <a:off x="280485" y="877464"/>
              <a:ext cx="1960293" cy="997716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square" lIns="108000" tIns="36000" rIns="36000" bIns="36000" rtlCol="0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Nordwestschweiz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CH" sz="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  <a:p>
              <a:pPr marL="4476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Basler Fasnacht</a:t>
              </a:r>
            </a:p>
            <a:p>
              <a:pPr marL="4476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EM-</a:t>
              </a:r>
              <a:r>
                <a:rPr kumimoji="0" lang="de-CH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Quali</a:t>
              </a: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 SUI–DEN</a:t>
              </a:r>
            </a:p>
            <a:p>
              <a:pPr marL="44767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CH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Smart City Wolf</a:t>
              </a: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151FAD84-34B2-4AB8-9AED-20631E2133D1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2180" y="1500435"/>
              <a:ext cx="259882" cy="176941"/>
            </a:xfrm>
            <a:prstGeom prst="rect">
              <a:avLst/>
            </a:prstGeom>
          </p:spPr>
        </p:pic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0163F035-CBE2-44D1-9F08-AFE1B6E8E719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 cstate="print">
              <a:duotone>
                <a:prstClr val="black"/>
                <a:schemeClr val="accent6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829" y="1706151"/>
              <a:ext cx="502610" cy="139655"/>
            </a:xfrm>
            <a:prstGeom prst="rect">
              <a:avLst/>
            </a:prstGeom>
          </p:spPr>
        </p:pic>
      </p:grp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620FC73A-14F3-4397-81E9-B2375B30AD05}"/>
              </a:ext>
            </a:extLst>
          </p:cNvPr>
          <p:cNvCxnSpPr>
            <a:cxnSpLocks/>
          </p:cNvCxnSpPr>
          <p:nvPr/>
        </p:nvCxnSpPr>
        <p:spPr>
          <a:xfrm flipH="1">
            <a:off x="266860" y="2304561"/>
            <a:ext cx="2671889" cy="0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Gerader Verbinder 120">
            <a:extLst>
              <a:ext uri="{FF2B5EF4-FFF2-40B4-BE49-F238E27FC236}">
                <a16:creationId xmlns:a16="http://schemas.microsoft.com/office/drawing/2014/main" id="{92190C38-5D79-47F3-9821-A71545420697}"/>
              </a:ext>
            </a:extLst>
          </p:cNvPr>
          <p:cNvCxnSpPr>
            <a:cxnSpLocks/>
          </p:cNvCxnSpPr>
          <p:nvPr/>
        </p:nvCxnSpPr>
        <p:spPr>
          <a:xfrm flipH="1" flipV="1">
            <a:off x="1056569" y="1248903"/>
            <a:ext cx="2872846" cy="1"/>
          </a:xfrm>
          <a:prstGeom prst="line">
            <a:avLst/>
          </a:prstGeom>
          <a:ln w="2222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Textfeld 121">
            <a:extLst>
              <a:ext uri="{FF2B5EF4-FFF2-40B4-BE49-F238E27FC236}">
                <a16:creationId xmlns:a16="http://schemas.microsoft.com/office/drawing/2014/main" id="{D507D07E-B870-4FC3-8BF6-36C93692B21D}"/>
              </a:ext>
            </a:extLst>
          </p:cNvPr>
          <p:cNvSpPr txBox="1"/>
          <p:nvPr/>
        </p:nvSpPr>
        <p:spPr>
          <a:xfrm>
            <a:off x="6419433" y="6606984"/>
            <a:ext cx="2184850" cy="145656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rmAutofit fontScale="92500" lnSpcReduction="20000"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AK </a:t>
            </a:r>
            <a:r>
              <a:rPr kumimoji="0" lang="de-CH" sz="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riesalp</a:t>
            </a:r>
            <a:r>
              <a:rPr kumimoji="0" lang="de-CH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| SBB | CEO-Office | 11./12.01.2019</a:t>
            </a:r>
          </a:p>
        </p:txBody>
      </p:sp>
    </p:spTree>
    <p:extLst>
      <p:ext uri="{BB962C8B-B14F-4D97-AF65-F5344CB8AC3E}">
        <p14:creationId xmlns:p14="http://schemas.microsoft.com/office/powerpoint/2010/main" val="605144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2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9" grpId="0" animBg="1"/>
      <p:bldP spid="65" grpId="0" animBg="1"/>
      <p:bldP spid="66" grpId="0" animBg="1"/>
      <p:bldP spid="67" grpId="0" animBg="1"/>
      <p:bldP spid="68" grpId="0" animBg="1"/>
      <p:bldP spid="69" grpId="0" animBg="1"/>
      <p:bldP spid="74" grpId="0" animBg="1"/>
      <p:bldP spid="75" grpId="0" animBg="1"/>
      <p:bldP spid="77" grpId="0" animBg="1"/>
      <p:bldP spid="79" grpId="0" animBg="1"/>
      <p:bldP spid="108" grpId="0" animBg="1"/>
      <p:bldP spid="109" grpId="0" animBg="1"/>
      <p:bldP spid="59" grpId="0" animBg="1"/>
      <p:bldP spid="62" grpId="0" animBg="1"/>
      <p:bldP spid="63" grpId="0" animBg="1"/>
      <p:bldP spid="64" grpId="0" animBg="1"/>
      <p:bldP spid="71" grpId="0" animBg="1"/>
      <p:bldP spid="98" grpId="0" animBg="1"/>
      <p:bldP spid="100" grpId="0" animBg="1"/>
      <p:bldP spid="106" grpId="0" animBg="1"/>
      <p:bldP spid="118" grpId="0" animBg="1"/>
      <p:bldP spid="119" grpId="0" animBg="1"/>
      <p:bldP spid="9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NFO" val="SBB100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GeXbwYSESzzX.Uaq6sk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BiAwN.60ybHBfWIBLfm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q08TLv1UWEx3F7VMwvi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oZgP0mPEGz3TpfVlCuh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IvjoAmRkCz0nqlfB2m0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rFuM8QC0mzKjtASxeJ_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tX7FefRU6zMKLv3T6R.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dkA7bOCEWo.cZaAYJDn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skSn.vQUCXJcZCRXoS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GeXbwYSESzzX.Uaq6s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BiAwN.60ybHBfWIBLfm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q08TLv1UWEx3F7VMwvi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oZgP0mPEGz3TpfVlCu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IvjoAmRkCz0nqlfB2m0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rFuM8QC0mzKjtASxeJ_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tX7FefRU6zMKLv3T6R.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dkA7bOCEWo.cZaAYJD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skSn.vQUCXJcZCRXoS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2.xml><?xml version="1.0" encoding="utf-8"?>
<a:theme xmlns:a="http://schemas.openxmlformats.org/drawingml/2006/main" name="2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3.xml><?xml version="1.0" encoding="utf-8"?>
<a:theme xmlns:a="http://schemas.openxmlformats.org/drawingml/2006/main" name="1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4.xml><?xml version="1.0" encoding="utf-8"?>
<a:theme xmlns:a="http://schemas.openxmlformats.org/drawingml/2006/main" name="4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5.xml><?xml version="1.0" encoding="utf-8"?>
<a:theme xmlns:a="http://schemas.openxmlformats.org/drawingml/2006/main" name="5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6.xml><?xml version="1.0" encoding="utf-8"?>
<a:theme xmlns:a="http://schemas.openxmlformats.org/drawingml/2006/main" name="6_Vorlage_SBB">
  <a:themeElements>
    <a:clrScheme name="Custom 1">
      <a:dk1>
        <a:sysClr val="windowText" lastClr="000000"/>
      </a:dk1>
      <a:lt1>
        <a:sysClr val="window" lastClr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EB0000"/>
      </a:accent6>
      <a:hlink>
        <a:srgbClr val="2D327D"/>
      </a:hlink>
      <a:folHlink>
        <a:srgbClr val="D5D6E5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normAutofit/>
      </a:bodyPr>
      <a:lstStyle>
        <a:defPPr>
          <a:defRPr sz="20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4c1ee6c-336c-486c-8945-a17a01fc30cb">
      <UserInfo>
        <DisplayName>Wälchli Urs (K-UE)</DisplayName>
        <AccountId>83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74617FB0ED73447AF7303853B882B7E" ma:contentTypeVersion="8" ma:contentTypeDescription="Ein neues Dokument erstellen." ma:contentTypeScope="" ma:versionID="53d6b3259bc4ab3150c98d2792185ec1">
  <xsd:schema xmlns:xsd="http://www.w3.org/2001/XMLSchema" xmlns:xs="http://www.w3.org/2001/XMLSchema" xmlns:p="http://schemas.microsoft.com/office/2006/metadata/properties" xmlns:ns2="e668ce90-f158-4570-b9a2-2adf053a94c2" xmlns:ns3="e4c1ee6c-336c-486c-8945-a17a01fc30cb" targetNamespace="http://schemas.microsoft.com/office/2006/metadata/properties" ma:root="true" ma:fieldsID="2e3830d38d0583079df93570e115fb7d" ns2:_="" ns3:_="">
    <xsd:import namespace="e668ce90-f158-4570-b9a2-2adf053a94c2"/>
    <xsd:import namespace="e4c1ee6c-336c-486c-8945-a17a01fc30c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68ce90-f158-4570-b9a2-2adf053a94c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c1ee6c-336c-486c-8945-a17a01fc30c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15CCDB-9A50-414F-ABB8-62FE8193C36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668ce90-f158-4570-b9a2-2adf053a94c2"/>
    <ds:schemaRef ds:uri="e4c1ee6c-336c-486c-8945-a17a01fc30cb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32426E9-9235-4BC1-8908-58BBD196AE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68ce90-f158-4570-b9a2-2adf053a94c2"/>
    <ds:schemaRef ds:uri="e4c1ee6c-336c-486c-8945-a17a01fc30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ADC36DD-DEFE-479A-B528-56331AAEF36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5</Words>
  <Application>Microsoft Office PowerPoint</Application>
  <PresentationFormat>Bildschirmpräsentation (4:3)</PresentationFormat>
  <Paragraphs>151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7" baseType="lpstr">
      <vt:lpstr>Arial</vt:lpstr>
      <vt:lpstr>Calibri</vt:lpstr>
      <vt:lpstr>SBB Light</vt:lpstr>
      <vt:lpstr>Symbol</vt:lpstr>
      <vt:lpstr>Wingdings 3</vt:lpstr>
      <vt:lpstr>Vorlage_SBB</vt:lpstr>
      <vt:lpstr>2_Vorlage_SBB</vt:lpstr>
      <vt:lpstr>1_Vorlage_SBB</vt:lpstr>
      <vt:lpstr>4_Vorlage_SBB</vt:lpstr>
      <vt:lpstr>5_Vorlage_SBB</vt:lpstr>
      <vt:lpstr>6_Vorlage_SBB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zeisen Nicole (K-KOM-MF-CID)</dc:creator>
  <cp:lastModifiedBy>Affolter Nils (KOM-IGK-NEW-MES)</cp:lastModifiedBy>
  <cp:revision>216</cp:revision>
  <cp:lastPrinted>2019-01-09T11:50:40Z</cp:lastPrinted>
  <dcterms:created xsi:type="dcterms:W3CDTF">2017-03-22T09:11:37Z</dcterms:created>
  <dcterms:modified xsi:type="dcterms:W3CDTF">2019-01-16T13:56:53Z</dcterms:modified>
  <cp:contentStatus>1;#In Arbeit|5da52893-878e-4f16-8c0f-6f1d371a87cc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fidentiality">
    <vt:lpwstr>2;#Intern|62a0be02-f36a-4921-b808-50c565cb6ae4</vt:lpwstr>
  </property>
  <property fmtid="{D5CDD505-2E9C-101B-9397-08002B2CF9AE}" pid="3" name="ContentTypeId">
    <vt:lpwstr>0x010100F74617FB0ED73447AF7303853B882B7E</vt:lpwstr>
  </property>
  <property fmtid="{D5CDD505-2E9C-101B-9397-08002B2CF9AE}" pid="4" name="Status">
    <vt:lpwstr>1;#In Arbeit|5da52893-878e-4f16-8c0f-6f1d371a87cc</vt:lpwstr>
  </property>
  <property fmtid="{D5CDD505-2E9C-101B-9397-08002B2CF9AE}" pid="5" name="_dlc_DocIdItemGuid">
    <vt:lpwstr>46634a81-55d1-454f-a7d0-c14af4ba0340</vt:lpwstr>
  </property>
  <property fmtid="{D5CDD505-2E9C-101B-9397-08002B2CF9AE}" pid="6" name="TmpVertraulichkeit">
    <vt:lpwstr/>
  </property>
  <property fmtid="{D5CDD505-2E9C-101B-9397-08002B2CF9AE}" pid="7" name="TmpStatus">
    <vt:lpwstr/>
  </property>
  <property fmtid="{D5CDD505-2E9C-101B-9397-08002B2CF9AE}" pid="8" name="DateSHPTitle">
    <vt:lpwstr>1/16/2019 2:56:52 PM</vt:lpwstr>
  </property>
  <property fmtid="{D5CDD505-2E9C-101B-9397-08002B2CF9AE}" pid="9" name="AuthorIds_UIVersion_3584">
    <vt:lpwstr>214</vt:lpwstr>
  </property>
</Properties>
</file>